
<file path=[Content_Types].xml><?xml version="1.0" encoding="utf-8"?>
<Types xmlns="http://schemas.openxmlformats.org/package/2006/content-types">
  <Default Extension="png" ContentType="image/png"/>
  <Default Extension="tmp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1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675" r:id="rId2"/>
    <p:sldMasterId id="2147483682" r:id="rId3"/>
    <p:sldMasterId id="2147483705" r:id="rId4"/>
    <p:sldMasterId id="2147483718" r:id="rId5"/>
    <p:sldMasterId id="2147483724" r:id="rId6"/>
    <p:sldMasterId id="2147483732" r:id="rId7"/>
  </p:sldMasterIdLst>
  <p:notesMasterIdLst>
    <p:notesMasterId r:id="rId32"/>
  </p:notesMasterIdLst>
  <p:sldIdLst>
    <p:sldId id="1402" r:id="rId8"/>
    <p:sldId id="1403" r:id="rId9"/>
    <p:sldId id="1418" r:id="rId10"/>
    <p:sldId id="1419" r:id="rId11"/>
    <p:sldId id="1420" r:id="rId12"/>
    <p:sldId id="1405" r:id="rId13"/>
    <p:sldId id="1404" r:id="rId14"/>
    <p:sldId id="1408" r:id="rId15"/>
    <p:sldId id="1409" r:id="rId16"/>
    <p:sldId id="1410" r:id="rId17"/>
    <p:sldId id="1411" r:id="rId18"/>
    <p:sldId id="1412" r:id="rId19"/>
    <p:sldId id="1421" r:id="rId20"/>
    <p:sldId id="1422" r:id="rId21"/>
    <p:sldId id="1423" r:id="rId22"/>
    <p:sldId id="1424" r:id="rId23"/>
    <p:sldId id="1425" r:id="rId24"/>
    <p:sldId id="1426" r:id="rId25"/>
    <p:sldId id="1414" r:id="rId26"/>
    <p:sldId id="1406" r:id="rId27"/>
    <p:sldId id="1407" r:id="rId28"/>
    <p:sldId id="1415" r:id="rId29"/>
    <p:sldId id="1416" r:id="rId30"/>
    <p:sldId id="1417" r:id="rId31"/>
  </p:sldIdLst>
  <p:sldSz cx="12192000" cy="6858000"/>
  <p:notesSz cx="6858000" cy="9144000"/>
  <p:custDataLst>
    <p:tags r:id="rId3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145"/>
    <a:srgbClr val="305983"/>
    <a:srgbClr val="E0D764"/>
    <a:srgbClr val="FF5050"/>
    <a:srgbClr val="00FF00"/>
    <a:srgbClr val="00CD61"/>
    <a:srgbClr val="FA9106"/>
    <a:srgbClr val="E6E6E6"/>
    <a:srgbClr val="BFBFBF"/>
    <a:srgbClr val="E7F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501" autoAdjust="0"/>
  </p:normalViewPr>
  <p:slideViewPr>
    <p:cSldViewPr snapToGrid="0">
      <p:cViewPr>
        <p:scale>
          <a:sx n="66" d="100"/>
          <a:sy n="66" d="100"/>
        </p:scale>
        <p:origin x="2172" y="1080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4820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34</c:v>
                </c:pt>
                <c:pt idx="1">
                  <c:v>44235</c:v>
                </c:pt>
                <c:pt idx="2">
                  <c:v>44236</c:v>
                </c:pt>
                <c:pt idx="3">
                  <c:v>44237</c:v>
                </c:pt>
                <c:pt idx="4">
                  <c:v>44238</c:v>
                </c:pt>
                <c:pt idx="5">
                  <c:v>44239</c:v>
                </c:pt>
                <c:pt idx="6">
                  <c:v>44240</c:v>
                </c:pt>
                <c:pt idx="7">
                  <c:v>44241</c:v>
                </c:pt>
                <c:pt idx="8">
                  <c:v>44242</c:v>
                </c:pt>
                <c:pt idx="9">
                  <c:v>44243</c:v>
                </c:pt>
                <c:pt idx="10">
                  <c:v>44244</c:v>
                </c:pt>
                <c:pt idx="11">
                  <c:v>44245</c:v>
                </c:pt>
                <c:pt idx="12">
                  <c:v>44246</c:v>
                </c:pt>
                <c:pt idx="13">
                  <c:v>44247</c:v>
                </c:pt>
                <c:pt idx="14">
                  <c:v>44248</c:v>
                </c:pt>
                <c:pt idx="15">
                  <c:v>44249</c:v>
                </c:pt>
                <c:pt idx="16">
                  <c:v>44250</c:v>
                </c:pt>
                <c:pt idx="17">
                  <c:v>44251</c:v>
                </c:pt>
                <c:pt idx="18">
                  <c:v>44252</c:v>
                </c:pt>
                <c:pt idx="19">
                  <c:v>44253</c:v>
                </c:pt>
                <c:pt idx="20">
                  <c:v>44254</c:v>
                </c:pt>
                <c:pt idx="21">
                  <c:v>44255</c:v>
                </c:pt>
                <c:pt idx="22">
                  <c:v>44256</c:v>
                </c:pt>
                <c:pt idx="23">
                  <c:v>44257</c:v>
                </c:pt>
                <c:pt idx="24">
                  <c:v>44258</c:v>
                </c:pt>
                <c:pt idx="25">
                  <c:v>44259</c:v>
                </c:pt>
                <c:pt idx="26">
                  <c:v>44260</c:v>
                </c:pt>
                <c:pt idx="27">
                  <c:v>44261</c:v>
                </c:pt>
                <c:pt idx="28">
                  <c:v>44262</c:v>
                </c:pt>
                <c:pt idx="29">
                  <c:v>44263</c:v>
                </c:pt>
                <c:pt idx="30">
                  <c:v>44264</c:v>
                </c:pt>
                <c:pt idx="31">
                  <c:v>44265</c:v>
                </c:pt>
                <c:pt idx="32">
                  <c:v>44266</c:v>
                </c:pt>
                <c:pt idx="33">
                  <c:v>44267</c:v>
                </c:pt>
                <c:pt idx="34">
                  <c:v>44268</c:v>
                </c:pt>
                <c:pt idx="35">
                  <c:v>44269</c:v>
                </c:pt>
                <c:pt idx="36">
                  <c:v>44270</c:v>
                </c:pt>
                <c:pt idx="37">
                  <c:v>44271</c:v>
                </c:pt>
                <c:pt idx="38">
                  <c:v>44272</c:v>
                </c:pt>
                <c:pt idx="39">
                  <c:v>44273</c:v>
                </c:pt>
                <c:pt idx="40">
                  <c:v>44274</c:v>
                </c:pt>
                <c:pt idx="41">
                  <c:v>44275</c:v>
                </c:pt>
                <c:pt idx="42">
                  <c:v>44276</c:v>
                </c:pt>
                <c:pt idx="43">
                  <c:v>44277</c:v>
                </c:pt>
                <c:pt idx="44">
                  <c:v>44278</c:v>
                </c:pt>
                <c:pt idx="45">
                  <c:v>44279</c:v>
                </c:pt>
                <c:pt idx="46">
                  <c:v>44280</c:v>
                </c:pt>
                <c:pt idx="47">
                  <c:v>44281</c:v>
                </c:pt>
                <c:pt idx="48">
                  <c:v>44282</c:v>
                </c:pt>
                <c:pt idx="49">
                  <c:v>44283</c:v>
                </c:pt>
                <c:pt idx="50">
                  <c:v>44284</c:v>
                </c:pt>
                <c:pt idx="51">
                  <c:v>44285</c:v>
                </c:pt>
                <c:pt idx="52">
                  <c:v>44286</c:v>
                </c:pt>
                <c:pt idx="53">
                  <c:v>44287</c:v>
                </c:pt>
                <c:pt idx="54">
                  <c:v>44288</c:v>
                </c:pt>
                <c:pt idx="55">
                  <c:v>44289</c:v>
                </c:pt>
                <c:pt idx="56">
                  <c:v>44290</c:v>
                </c:pt>
                <c:pt idx="57">
                  <c:v>44291</c:v>
                </c:pt>
                <c:pt idx="58">
                  <c:v>44292</c:v>
                </c:pt>
                <c:pt idx="59">
                  <c:v>44293</c:v>
                </c:pt>
                <c:pt idx="60">
                  <c:v>44294</c:v>
                </c:pt>
                <c:pt idx="61">
                  <c:v>44295</c:v>
                </c:pt>
                <c:pt idx="62">
                  <c:v>44296</c:v>
                </c:pt>
                <c:pt idx="63">
                  <c:v>44297</c:v>
                </c:pt>
                <c:pt idx="64">
                  <c:v>44298</c:v>
                </c:pt>
                <c:pt idx="65">
                  <c:v>44299</c:v>
                </c:pt>
                <c:pt idx="66">
                  <c:v>44300</c:v>
                </c:pt>
                <c:pt idx="67">
                  <c:v>44301</c:v>
                </c:pt>
                <c:pt idx="68">
                  <c:v>44302</c:v>
                </c:pt>
                <c:pt idx="69">
                  <c:v>44303</c:v>
                </c:pt>
                <c:pt idx="70">
                  <c:v>44304</c:v>
                </c:pt>
                <c:pt idx="71">
                  <c:v>44305</c:v>
                </c:pt>
                <c:pt idx="72">
                  <c:v>44306</c:v>
                </c:pt>
                <c:pt idx="73">
                  <c:v>44307</c:v>
                </c:pt>
                <c:pt idx="74">
                  <c:v>44308</c:v>
                </c:pt>
                <c:pt idx="75">
                  <c:v>44309</c:v>
                </c:pt>
                <c:pt idx="76">
                  <c:v>44310</c:v>
                </c:pt>
                <c:pt idx="77">
                  <c:v>44311</c:v>
                </c:pt>
                <c:pt idx="78">
                  <c:v>44312</c:v>
                </c:pt>
                <c:pt idx="79">
                  <c:v>44313</c:v>
                </c:pt>
                <c:pt idx="80">
                  <c:v>44314</c:v>
                </c:pt>
                <c:pt idx="81">
                  <c:v>44315</c:v>
                </c:pt>
                <c:pt idx="82">
                  <c:v>44316</c:v>
                </c:pt>
                <c:pt idx="83">
                  <c:v>44317</c:v>
                </c:pt>
                <c:pt idx="84">
                  <c:v>44318</c:v>
                </c:pt>
                <c:pt idx="85">
                  <c:v>44319</c:v>
                </c:pt>
                <c:pt idx="86">
                  <c:v>44320</c:v>
                </c:pt>
                <c:pt idx="87">
                  <c:v>44321</c:v>
                </c:pt>
                <c:pt idx="88">
                  <c:v>44322</c:v>
                </c:pt>
                <c:pt idx="89">
                  <c:v>44323</c:v>
                </c:pt>
                <c:pt idx="90">
                  <c:v>44324</c:v>
                </c:pt>
                <c:pt idx="91">
                  <c:v>44325</c:v>
                </c:pt>
                <c:pt idx="92">
                  <c:v>44326</c:v>
                </c:pt>
                <c:pt idx="93">
                  <c:v>44327</c:v>
                </c:pt>
                <c:pt idx="94">
                  <c:v>44328</c:v>
                </c:pt>
                <c:pt idx="95">
                  <c:v>44329</c:v>
                </c:pt>
                <c:pt idx="96">
                  <c:v>44330</c:v>
                </c:pt>
                <c:pt idx="97">
                  <c:v>44331</c:v>
                </c:pt>
                <c:pt idx="98">
                  <c:v>44332</c:v>
                </c:pt>
                <c:pt idx="99">
                  <c:v>44333</c:v>
                </c:pt>
                <c:pt idx="100">
                  <c:v>44334</c:v>
                </c:pt>
                <c:pt idx="101">
                  <c:v>44335</c:v>
                </c:pt>
                <c:pt idx="102">
                  <c:v>44336</c:v>
                </c:pt>
                <c:pt idx="103">
                  <c:v>44337</c:v>
                </c:pt>
                <c:pt idx="104">
                  <c:v>44338</c:v>
                </c:pt>
                <c:pt idx="105">
                  <c:v>44339</c:v>
                </c:pt>
                <c:pt idx="106">
                  <c:v>44340</c:v>
                </c:pt>
                <c:pt idx="107">
                  <c:v>44341</c:v>
                </c:pt>
                <c:pt idx="108">
                  <c:v>44342</c:v>
                </c:pt>
                <c:pt idx="109">
                  <c:v>44343</c:v>
                </c:pt>
                <c:pt idx="110">
                  <c:v>44344</c:v>
                </c:pt>
                <c:pt idx="111">
                  <c:v>44345</c:v>
                </c:pt>
                <c:pt idx="112">
                  <c:v>44346</c:v>
                </c:pt>
                <c:pt idx="113">
                  <c:v>44347</c:v>
                </c:pt>
                <c:pt idx="114">
                  <c:v>44348</c:v>
                </c:pt>
                <c:pt idx="115">
                  <c:v>44349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2451</c:v>
                </c:pt>
                <c:pt idx="1">
                  <c:v>7777</c:v>
                </c:pt>
                <c:pt idx="2">
                  <c:v>10282</c:v>
                </c:pt>
                <c:pt idx="3">
                  <c:v>9539</c:v>
                </c:pt>
                <c:pt idx="4">
                  <c:v>9018</c:v>
                </c:pt>
                <c:pt idx="5">
                  <c:v>8830</c:v>
                </c:pt>
                <c:pt idx="6">
                  <c:v>5141</c:v>
                </c:pt>
                <c:pt idx="7">
                  <c:v>2880</c:v>
                </c:pt>
                <c:pt idx="8">
                  <c:v>8905</c:v>
                </c:pt>
                <c:pt idx="9">
                  <c:v>12608</c:v>
                </c:pt>
                <c:pt idx="10">
                  <c:v>10939</c:v>
                </c:pt>
                <c:pt idx="11">
                  <c:v>11704</c:v>
                </c:pt>
                <c:pt idx="12">
                  <c:v>11287</c:v>
                </c:pt>
                <c:pt idx="13">
                  <c:v>6775</c:v>
                </c:pt>
                <c:pt idx="14">
                  <c:v>4068</c:v>
                </c:pt>
                <c:pt idx="15">
                  <c:v>11410</c:v>
                </c:pt>
                <c:pt idx="16">
                  <c:v>15840</c:v>
                </c:pt>
                <c:pt idx="17">
                  <c:v>13796</c:v>
                </c:pt>
                <c:pt idx="18">
                  <c:v>14588</c:v>
                </c:pt>
                <c:pt idx="19">
                  <c:v>14775</c:v>
                </c:pt>
                <c:pt idx="20">
                  <c:v>7824</c:v>
                </c:pt>
                <c:pt idx="21">
                  <c:v>4587</c:v>
                </c:pt>
                <c:pt idx="22">
                  <c:v>12325</c:v>
                </c:pt>
                <c:pt idx="23">
                  <c:v>16781</c:v>
                </c:pt>
                <c:pt idx="24">
                  <c:v>15238</c:v>
                </c:pt>
                <c:pt idx="25">
                  <c:v>14649</c:v>
                </c:pt>
                <c:pt idx="26">
                  <c:v>13170</c:v>
                </c:pt>
                <c:pt idx="27">
                  <c:v>9130</c:v>
                </c:pt>
                <c:pt idx="28">
                  <c:v>3983</c:v>
                </c:pt>
                <c:pt idx="29">
                  <c:v>10653</c:v>
                </c:pt>
                <c:pt idx="30">
                  <c:v>15361</c:v>
                </c:pt>
                <c:pt idx="31">
                  <c:v>14537</c:v>
                </c:pt>
                <c:pt idx="32">
                  <c:v>11245</c:v>
                </c:pt>
                <c:pt idx="33">
                  <c:v>14960</c:v>
                </c:pt>
                <c:pt idx="34">
                  <c:v>6957</c:v>
                </c:pt>
                <c:pt idx="35">
                  <c:v>3333</c:v>
                </c:pt>
                <c:pt idx="36">
                  <c:v>10630</c:v>
                </c:pt>
                <c:pt idx="37">
                  <c:v>14027</c:v>
                </c:pt>
                <c:pt idx="38">
                  <c:v>12028</c:v>
                </c:pt>
                <c:pt idx="39">
                  <c:v>10661</c:v>
                </c:pt>
                <c:pt idx="40">
                  <c:v>9709</c:v>
                </c:pt>
                <c:pt idx="41">
                  <c:v>5466</c:v>
                </c:pt>
                <c:pt idx="42">
                  <c:v>2391</c:v>
                </c:pt>
                <c:pt idx="43">
                  <c:v>8239</c:v>
                </c:pt>
                <c:pt idx="44">
                  <c:v>10968</c:v>
                </c:pt>
                <c:pt idx="45">
                  <c:v>8848</c:v>
                </c:pt>
                <c:pt idx="46">
                  <c:v>7926</c:v>
                </c:pt>
                <c:pt idx="47">
                  <c:v>7712</c:v>
                </c:pt>
                <c:pt idx="48">
                  <c:v>3969</c:v>
                </c:pt>
                <c:pt idx="49">
                  <c:v>1744</c:v>
                </c:pt>
                <c:pt idx="50">
                  <c:v>6935</c:v>
                </c:pt>
                <c:pt idx="51">
                  <c:v>8630</c:v>
                </c:pt>
                <c:pt idx="52">
                  <c:v>7263</c:v>
                </c:pt>
                <c:pt idx="53">
                  <c:v>6245</c:v>
                </c:pt>
                <c:pt idx="54">
                  <c:v>3837</c:v>
                </c:pt>
                <c:pt idx="55">
                  <c:v>2160</c:v>
                </c:pt>
                <c:pt idx="56">
                  <c:v>1925</c:v>
                </c:pt>
                <c:pt idx="57">
                  <c:v>1419</c:v>
                </c:pt>
                <c:pt idx="58">
                  <c:v>5583</c:v>
                </c:pt>
                <c:pt idx="59">
                  <c:v>7052</c:v>
                </c:pt>
                <c:pt idx="60">
                  <c:v>5281</c:v>
                </c:pt>
                <c:pt idx="61">
                  <c:v>4819</c:v>
                </c:pt>
                <c:pt idx="62">
                  <c:v>2204</c:v>
                </c:pt>
                <c:pt idx="63">
                  <c:v>985</c:v>
                </c:pt>
                <c:pt idx="64">
                  <c:v>3868</c:v>
                </c:pt>
                <c:pt idx="65">
                  <c:v>5055</c:v>
                </c:pt>
                <c:pt idx="66">
                  <c:v>3715</c:v>
                </c:pt>
                <c:pt idx="67">
                  <c:v>3263</c:v>
                </c:pt>
                <c:pt idx="68">
                  <c:v>3217</c:v>
                </c:pt>
                <c:pt idx="69">
                  <c:v>1541</c:v>
                </c:pt>
                <c:pt idx="70">
                  <c:v>833</c:v>
                </c:pt>
                <c:pt idx="71">
                  <c:v>3341</c:v>
                </c:pt>
                <c:pt idx="72">
                  <c:v>3815</c:v>
                </c:pt>
                <c:pt idx="73">
                  <c:v>2951</c:v>
                </c:pt>
                <c:pt idx="74">
                  <c:v>2628</c:v>
                </c:pt>
                <c:pt idx="75">
                  <c:v>2601</c:v>
                </c:pt>
                <c:pt idx="76">
                  <c:v>1308</c:v>
                </c:pt>
                <c:pt idx="77">
                  <c:v>825</c:v>
                </c:pt>
                <c:pt idx="78">
                  <c:v>2579</c:v>
                </c:pt>
                <c:pt idx="79">
                  <c:v>3238</c:v>
                </c:pt>
                <c:pt idx="80">
                  <c:v>2488</c:v>
                </c:pt>
                <c:pt idx="81">
                  <c:v>2228</c:v>
                </c:pt>
                <c:pt idx="82">
                  <c:v>2165</c:v>
                </c:pt>
                <c:pt idx="83">
                  <c:v>1171</c:v>
                </c:pt>
                <c:pt idx="84">
                  <c:v>508</c:v>
                </c:pt>
                <c:pt idx="85">
                  <c:v>2219</c:v>
                </c:pt>
                <c:pt idx="86">
                  <c:v>2415</c:v>
                </c:pt>
                <c:pt idx="87">
                  <c:v>1873</c:v>
                </c:pt>
                <c:pt idx="88">
                  <c:v>1572</c:v>
                </c:pt>
                <c:pt idx="89">
                  <c:v>1638</c:v>
                </c:pt>
                <c:pt idx="90">
                  <c:v>725</c:v>
                </c:pt>
                <c:pt idx="91">
                  <c:v>383</c:v>
                </c:pt>
                <c:pt idx="92">
                  <c:v>1544</c:v>
                </c:pt>
                <c:pt idx="93">
                  <c:v>1690</c:v>
                </c:pt>
                <c:pt idx="94">
                  <c:v>1264</c:v>
                </c:pt>
                <c:pt idx="95">
                  <c:v>1223</c:v>
                </c:pt>
                <c:pt idx="96">
                  <c:v>1051</c:v>
                </c:pt>
                <c:pt idx="97">
                  <c:v>597</c:v>
                </c:pt>
                <c:pt idx="98">
                  <c:v>256</c:v>
                </c:pt>
                <c:pt idx="99">
                  <c:v>1128</c:v>
                </c:pt>
                <c:pt idx="100">
                  <c:v>1199</c:v>
                </c:pt>
                <c:pt idx="101">
                  <c:v>778</c:v>
                </c:pt>
                <c:pt idx="102">
                  <c:v>678</c:v>
                </c:pt>
                <c:pt idx="103">
                  <c:v>671</c:v>
                </c:pt>
                <c:pt idx="104">
                  <c:v>333</c:v>
                </c:pt>
                <c:pt idx="105">
                  <c:v>196</c:v>
                </c:pt>
                <c:pt idx="106">
                  <c:v>696</c:v>
                </c:pt>
                <c:pt idx="107">
                  <c:v>658</c:v>
                </c:pt>
                <c:pt idx="108">
                  <c:v>538</c:v>
                </c:pt>
                <c:pt idx="109">
                  <c:v>505</c:v>
                </c:pt>
                <c:pt idx="110">
                  <c:v>453</c:v>
                </c:pt>
                <c:pt idx="111">
                  <c:v>222</c:v>
                </c:pt>
                <c:pt idx="112">
                  <c:v>113</c:v>
                </c:pt>
                <c:pt idx="113">
                  <c:v>511</c:v>
                </c:pt>
                <c:pt idx="114">
                  <c:v>478</c:v>
                </c:pt>
                <c:pt idx="115">
                  <c:v>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455437769925402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7.8068264342774141E-2</c:v>
                </c:pt>
                <c:pt idx="1">
                  <c:v>7.715491259795057E-2</c:v>
                </c:pt>
                <c:pt idx="2">
                  <c:v>9.1127922971114161E-2</c:v>
                </c:pt>
                <c:pt idx="3">
                  <c:v>7.7478924126856683E-2</c:v>
                </c:pt>
                <c:pt idx="4">
                  <c:v>0.13078291814946619</c:v>
                </c:pt>
                <c:pt idx="5">
                  <c:v>6.7722075637642917E-2</c:v>
                </c:pt>
                <c:pt idx="6">
                  <c:v>9.5685604442545924E-2</c:v>
                </c:pt>
                <c:pt idx="7">
                  <c:v>9.8598023442886693E-2</c:v>
                </c:pt>
                <c:pt idx="8">
                  <c:v>0.1145956607495069</c:v>
                </c:pt>
                <c:pt idx="9">
                  <c:v>8.6850895839659881E-2</c:v>
                </c:pt>
                <c:pt idx="10">
                  <c:v>0.15578465063001146</c:v>
                </c:pt>
                <c:pt idx="11">
                  <c:v>0.16857855361596011</c:v>
                </c:pt>
                <c:pt idx="12">
                  <c:v>7.4589979779824761E-2</c:v>
                </c:pt>
                <c:pt idx="13">
                  <c:v>8.8331008833100882E-2</c:v>
                </c:pt>
                <c:pt idx="14">
                  <c:v>0.1250338294993234</c:v>
                </c:pt>
                <c:pt idx="15">
                  <c:v>0.18128927158482663</c:v>
                </c:pt>
                <c:pt idx="16">
                  <c:v>0.14152202937249667</c:v>
                </c:pt>
                <c:pt idx="17">
                  <c:v>0.14802855200543849</c:v>
                </c:pt>
                <c:pt idx="18">
                  <c:v>0.11458026509572901</c:v>
                </c:pt>
                <c:pt idx="19">
                  <c:v>9.366175086288045E-2</c:v>
                </c:pt>
                <c:pt idx="20">
                  <c:v>0.13886547031193544</c:v>
                </c:pt>
                <c:pt idx="21">
                  <c:v>0.13669145819247239</c:v>
                </c:pt>
                <c:pt idx="22">
                  <c:v>0.15415146964170778</c:v>
                </c:pt>
                <c:pt idx="23">
                  <c:v>0.17133529907329401</c:v>
                </c:pt>
                <c:pt idx="24">
                  <c:v>0.15961451588616171</c:v>
                </c:pt>
                <c:pt idx="25">
                  <c:v>0.15116822429906543</c:v>
                </c:pt>
                <c:pt idx="26">
                  <c:v>0.14395955295369878</c:v>
                </c:pt>
                <c:pt idx="27">
                  <c:v>0.14614840989399294</c:v>
                </c:pt>
                <c:pt idx="28">
                  <c:v>0.17759881318215534</c:v>
                </c:pt>
                <c:pt idx="29">
                  <c:v>0.20697061407790687</c:v>
                </c:pt>
                <c:pt idx="30">
                  <c:v>0.21117478510028653</c:v>
                </c:pt>
                <c:pt idx="31">
                  <c:v>0.21992932862190812</c:v>
                </c:pt>
                <c:pt idx="32">
                  <c:v>0.26157965194109772</c:v>
                </c:pt>
                <c:pt idx="33">
                  <c:v>0.24253985556615343</c:v>
                </c:pt>
                <c:pt idx="34">
                  <c:v>0.24217387312953273</c:v>
                </c:pt>
                <c:pt idx="35">
                  <c:v>0.27578857630008524</c:v>
                </c:pt>
                <c:pt idx="36">
                  <c:v>0.28454070201643017</c:v>
                </c:pt>
                <c:pt idx="37">
                  <c:v>0.3961859708773745</c:v>
                </c:pt>
                <c:pt idx="38">
                  <c:v>0.32748538011695905</c:v>
                </c:pt>
                <c:pt idx="39">
                  <c:v>0.34188988095238093</c:v>
                </c:pt>
                <c:pt idx="40">
                  <c:v>0.25889096864763689</c:v>
                </c:pt>
                <c:pt idx="41">
                  <c:v>0.32816236830198436</c:v>
                </c:pt>
                <c:pt idx="42">
                  <c:v>0.34804329725228977</c:v>
                </c:pt>
                <c:pt idx="43">
                  <c:v>0.3522313296903461</c:v>
                </c:pt>
                <c:pt idx="44">
                  <c:v>0.35698348951360998</c:v>
                </c:pt>
                <c:pt idx="45">
                  <c:v>0.36537154858237075</c:v>
                </c:pt>
                <c:pt idx="46">
                  <c:v>0.37076366922729326</c:v>
                </c:pt>
                <c:pt idx="47">
                  <c:v>0.34896617828289744</c:v>
                </c:pt>
                <c:pt idx="48">
                  <c:v>0.36403171007927521</c:v>
                </c:pt>
                <c:pt idx="49">
                  <c:v>0.40686659772492245</c:v>
                </c:pt>
                <c:pt idx="50">
                  <c:v>0.38828238719068414</c:v>
                </c:pt>
                <c:pt idx="51">
                  <c:v>0.4046701974000963</c:v>
                </c:pt>
                <c:pt idx="52">
                  <c:v>0.38496972887601999</c:v>
                </c:pt>
                <c:pt idx="53">
                  <c:v>0.41515493446749413</c:v>
                </c:pt>
                <c:pt idx="54">
                  <c:v>0.362906289001031</c:v>
                </c:pt>
                <c:pt idx="55">
                  <c:v>0.3820343557387213</c:v>
                </c:pt>
                <c:pt idx="56">
                  <c:v>0.39477193918378234</c:v>
                </c:pt>
                <c:pt idx="57">
                  <c:v>0.37397532142548967</c:v>
                </c:pt>
                <c:pt idx="58">
                  <c:v>0.34489316478353282</c:v>
                </c:pt>
                <c:pt idx="59">
                  <c:v>0.38161628020741611</c:v>
                </c:pt>
                <c:pt idx="60">
                  <c:v>0.38654462242562931</c:v>
                </c:pt>
                <c:pt idx="61">
                  <c:v>0.37398898136209119</c:v>
                </c:pt>
                <c:pt idx="62">
                  <c:v>0.34595763784026445</c:v>
                </c:pt>
                <c:pt idx="63">
                  <c:v>0.41495954213538583</c:v>
                </c:pt>
                <c:pt idx="64">
                  <c:v>0.38153209109730851</c:v>
                </c:pt>
                <c:pt idx="65">
                  <c:v>0.34465778179353962</c:v>
                </c:pt>
                <c:pt idx="66">
                  <c:v>0.35780910302265234</c:v>
                </c:pt>
                <c:pt idx="67">
                  <c:v>0.32550236406619387</c:v>
                </c:pt>
                <c:pt idx="68">
                  <c:v>0.25541184479237578</c:v>
                </c:pt>
                <c:pt idx="69">
                  <c:v>0.30508043168397475</c:v>
                </c:pt>
                <c:pt idx="70">
                  <c:v>0.32964727231484631</c:v>
                </c:pt>
                <c:pt idx="71">
                  <c:v>0.3215763672248042</c:v>
                </c:pt>
                <c:pt idx="72">
                  <c:v>0.28581156369939331</c:v>
                </c:pt>
                <c:pt idx="73">
                  <c:v>0.32082076041038021</c:v>
                </c:pt>
                <c:pt idx="74">
                  <c:v>0.27688243064729195</c:v>
                </c:pt>
                <c:pt idx="75">
                  <c:v>0.25350060704168353</c:v>
                </c:pt>
                <c:pt idx="76">
                  <c:v>0.30532811202088522</c:v>
                </c:pt>
                <c:pt idx="77">
                  <c:v>0.27193053639535825</c:v>
                </c:pt>
                <c:pt idx="78">
                  <c:v>0.29906882002036955</c:v>
                </c:pt>
                <c:pt idx="79">
                  <c:v>0.27108983128134972</c:v>
                </c:pt>
                <c:pt idx="80">
                  <c:v>0.27525433443186703</c:v>
                </c:pt>
                <c:pt idx="81">
                  <c:v>0.26327433628318586</c:v>
                </c:pt>
                <c:pt idx="82">
                  <c:v>0.22696869704806921</c:v>
                </c:pt>
                <c:pt idx="83">
                  <c:v>0.2911352293432623</c:v>
                </c:pt>
                <c:pt idx="84">
                  <c:v>0.26792418276714586</c:v>
                </c:pt>
                <c:pt idx="85">
                  <c:v>0.26090241796200347</c:v>
                </c:pt>
                <c:pt idx="86">
                  <c:v>0.24146292180238432</c:v>
                </c:pt>
                <c:pt idx="87">
                  <c:v>0.26311772562488073</c:v>
                </c:pt>
                <c:pt idx="88">
                  <c:v>0.21301518438177874</c:v>
                </c:pt>
                <c:pt idx="89">
                  <c:v>0.19756738987508218</c:v>
                </c:pt>
                <c:pt idx="90">
                  <c:v>0.28662790697674417</c:v>
                </c:pt>
                <c:pt idx="91">
                  <c:v>0.2479369842460615</c:v>
                </c:pt>
                <c:pt idx="92">
                  <c:v>0.27582257392753018</c:v>
                </c:pt>
                <c:pt idx="93">
                  <c:v>0.2663154499516181</c:v>
                </c:pt>
                <c:pt idx="94">
                  <c:v>0.30907754502021317</c:v>
                </c:pt>
                <c:pt idx="95">
                  <c:v>0.20038167938931298</c:v>
                </c:pt>
                <c:pt idx="96">
                  <c:v>0.21702981651376146</c:v>
                </c:pt>
                <c:pt idx="97">
                  <c:v>0.28041100430891613</c:v>
                </c:pt>
                <c:pt idx="98">
                  <c:v>0.31469962350630215</c:v>
                </c:pt>
                <c:pt idx="99">
                  <c:v>0.28166851488526828</c:v>
                </c:pt>
                <c:pt idx="100">
                  <c:v>0.26900494437577255</c:v>
                </c:pt>
                <c:pt idx="101">
                  <c:v>0.30822444273635663</c:v>
                </c:pt>
                <c:pt idx="102">
                  <c:v>0.30299436703231547</c:v>
                </c:pt>
                <c:pt idx="103">
                  <c:v>0.23590814196242171</c:v>
                </c:pt>
                <c:pt idx="104">
                  <c:v>0.30732407850646243</c:v>
                </c:pt>
                <c:pt idx="105">
                  <c:v>0.31295403407264544</c:v>
                </c:pt>
                <c:pt idx="106">
                  <c:v>0.2964598852923726</c:v>
                </c:pt>
                <c:pt idx="107">
                  <c:v>0.31898929006605531</c:v>
                </c:pt>
                <c:pt idx="108">
                  <c:v>0.28612197442130854</c:v>
                </c:pt>
                <c:pt idx="109">
                  <c:v>0.35946813388353965</c:v>
                </c:pt>
                <c:pt idx="110">
                  <c:v>0.2769810227437346</c:v>
                </c:pt>
                <c:pt idx="111">
                  <c:v>0.32764524277294416</c:v>
                </c:pt>
                <c:pt idx="112">
                  <c:v>0.38716002212055706</c:v>
                </c:pt>
                <c:pt idx="113">
                  <c:v>0.41828087167070216</c:v>
                </c:pt>
                <c:pt idx="114">
                  <c:v>0.35233955510099718</c:v>
                </c:pt>
                <c:pt idx="115">
                  <c:v>0.35822376581493426</c:v>
                </c:pt>
                <c:pt idx="116">
                  <c:v>0.34778911564625853</c:v>
                </c:pt>
                <c:pt idx="117">
                  <c:v>0.40042149631190727</c:v>
                </c:pt>
                <c:pt idx="118">
                  <c:v>0.5027743868605038</c:v>
                </c:pt>
                <c:pt idx="119">
                  <c:v>0.49295472810072327</c:v>
                </c:pt>
                <c:pt idx="120">
                  <c:v>0.50209446771630795</c:v>
                </c:pt>
                <c:pt idx="121">
                  <c:v>0.4838255977496484</c:v>
                </c:pt>
                <c:pt idx="122">
                  <c:v>0.36075544174135721</c:v>
                </c:pt>
                <c:pt idx="123">
                  <c:v>0.41206349206349208</c:v>
                </c:pt>
                <c:pt idx="124">
                  <c:v>0.35492577597840758</c:v>
                </c:pt>
                <c:pt idx="125">
                  <c:v>0.41028988116672671</c:v>
                </c:pt>
                <c:pt idx="126">
                  <c:v>0.47711786594500555</c:v>
                </c:pt>
                <c:pt idx="127">
                  <c:v>0.40240865897657402</c:v>
                </c:pt>
                <c:pt idx="128">
                  <c:v>0.35701708959088557</c:v>
                </c:pt>
                <c:pt idx="129">
                  <c:v>0.4423783783783784</c:v>
                </c:pt>
                <c:pt idx="130">
                  <c:v>0.35150143973673387</c:v>
                </c:pt>
                <c:pt idx="131">
                  <c:v>0.27470168571248182</c:v>
                </c:pt>
                <c:pt idx="132">
                  <c:v>0.30413625304136255</c:v>
                </c:pt>
                <c:pt idx="133">
                  <c:v>0.34172319786977745</c:v>
                </c:pt>
                <c:pt idx="134">
                  <c:v>0.2774019928722089</c:v>
                </c:pt>
                <c:pt idx="135">
                  <c:v>0.30803602597221252</c:v>
                </c:pt>
                <c:pt idx="136">
                  <c:v>0.31220008724734621</c:v>
                </c:pt>
                <c:pt idx="137">
                  <c:v>0.29955156950672646</c:v>
                </c:pt>
                <c:pt idx="138">
                  <c:v>0.26527855042517684</c:v>
                </c:pt>
                <c:pt idx="139">
                  <c:v>0.33036483769031888</c:v>
                </c:pt>
                <c:pt idx="140">
                  <c:v>0.3074082621740134</c:v>
                </c:pt>
                <c:pt idx="141">
                  <c:v>0.32305905476637187</c:v>
                </c:pt>
                <c:pt idx="142">
                  <c:v>0.28450724743244227</c:v>
                </c:pt>
                <c:pt idx="143">
                  <c:v>0.30253251197809722</c:v>
                </c:pt>
                <c:pt idx="144">
                  <c:v>0.27335075114304375</c:v>
                </c:pt>
                <c:pt idx="145">
                  <c:v>0.23751240489579886</c:v>
                </c:pt>
                <c:pt idx="146">
                  <c:v>0.31059772643931061</c:v>
                </c:pt>
                <c:pt idx="147">
                  <c:v>0.29745311245712619</c:v>
                </c:pt>
                <c:pt idx="148">
                  <c:v>0.30779327317473337</c:v>
                </c:pt>
                <c:pt idx="149">
                  <c:v>0.26903254307171254</c:v>
                </c:pt>
                <c:pt idx="150">
                  <c:v>0.28157205240174671</c:v>
                </c:pt>
                <c:pt idx="151">
                  <c:v>0.31630510846745974</c:v>
                </c:pt>
                <c:pt idx="152">
                  <c:v>0.25033344448149381</c:v>
                </c:pt>
                <c:pt idx="153">
                  <c:v>0.30338213023725391</c:v>
                </c:pt>
                <c:pt idx="154">
                  <c:v>0.31328800113330502</c:v>
                </c:pt>
                <c:pt idx="155">
                  <c:v>0.28730597817734749</c:v>
                </c:pt>
                <c:pt idx="156">
                  <c:v>0.28186727824221353</c:v>
                </c:pt>
                <c:pt idx="157">
                  <c:v>0.30878859857482183</c:v>
                </c:pt>
                <c:pt idx="158">
                  <c:v>0.26312130691692737</c:v>
                </c:pt>
                <c:pt idx="159">
                  <c:v>0.27166147646089028</c:v>
                </c:pt>
                <c:pt idx="160">
                  <c:v>0.33584304640555995</c:v>
                </c:pt>
                <c:pt idx="161">
                  <c:v>0.32336119665640123</c:v>
                </c:pt>
                <c:pt idx="162">
                  <c:v>0.31408653481851934</c:v>
                </c:pt>
                <c:pt idx="163">
                  <c:v>0.28873341027120603</c:v>
                </c:pt>
                <c:pt idx="164">
                  <c:v>0.29399555226093405</c:v>
                </c:pt>
                <c:pt idx="165">
                  <c:v>0.27800407331975557</c:v>
                </c:pt>
                <c:pt idx="166">
                  <c:v>0.27179196370706415</c:v>
                </c:pt>
                <c:pt idx="167">
                  <c:v>0.36488034623217924</c:v>
                </c:pt>
                <c:pt idx="168">
                  <c:v>0.33496545710644576</c:v>
                </c:pt>
                <c:pt idx="169">
                  <c:v>0.33735853828159573</c:v>
                </c:pt>
                <c:pt idx="170">
                  <c:v>0.30393710027577303</c:v>
                </c:pt>
                <c:pt idx="171">
                  <c:v>0.34978070175438597</c:v>
                </c:pt>
                <c:pt idx="172">
                  <c:v>0.3717688062735986</c:v>
                </c:pt>
                <c:pt idx="173">
                  <c:v>0.30609092740581562</c:v>
                </c:pt>
                <c:pt idx="174">
                  <c:v>0.38245158498323056</c:v>
                </c:pt>
                <c:pt idx="175">
                  <c:v>0.36473532857599317</c:v>
                </c:pt>
                <c:pt idx="176">
                  <c:v>0.36094578508819392</c:v>
                </c:pt>
                <c:pt idx="177">
                  <c:v>0.34038412291933418</c:v>
                </c:pt>
                <c:pt idx="178">
                  <c:v>0.32980618124672606</c:v>
                </c:pt>
                <c:pt idx="179">
                  <c:v>0.32689655172413795</c:v>
                </c:pt>
                <c:pt idx="180">
                  <c:v>0.31530694418633465</c:v>
                </c:pt>
                <c:pt idx="181">
                  <c:v>0.36881851400730814</c:v>
                </c:pt>
                <c:pt idx="182">
                  <c:v>0.36445565969718818</c:v>
                </c:pt>
                <c:pt idx="183">
                  <c:v>0.36675917683405773</c:v>
                </c:pt>
                <c:pt idx="184">
                  <c:v>0.29982407640110581</c:v>
                </c:pt>
                <c:pt idx="185">
                  <c:v>0.41685701233439926</c:v>
                </c:pt>
                <c:pt idx="186">
                  <c:v>0.31148679944418711</c:v>
                </c:pt>
                <c:pt idx="187">
                  <c:v>0.29717075780884222</c:v>
                </c:pt>
                <c:pt idx="188">
                  <c:v>0.36241498494815477</c:v>
                </c:pt>
                <c:pt idx="189">
                  <c:v>0.35480325346229941</c:v>
                </c:pt>
                <c:pt idx="190">
                  <c:v>0.31278354359579891</c:v>
                </c:pt>
                <c:pt idx="191">
                  <c:v>0.37699144725809158</c:v>
                </c:pt>
                <c:pt idx="192">
                  <c:v>0.33705210657566609</c:v>
                </c:pt>
                <c:pt idx="193">
                  <c:v>0.29392298435619735</c:v>
                </c:pt>
                <c:pt idx="194">
                  <c:v>0.27996203904555317</c:v>
                </c:pt>
                <c:pt idx="195">
                  <c:v>0.35512691556712622</c:v>
                </c:pt>
                <c:pt idx="196">
                  <c:v>0.34239515557559752</c:v>
                </c:pt>
                <c:pt idx="197">
                  <c:v>0.32537356116393795</c:v>
                </c:pt>
                <c:pt idx="198">
                  <c:v>0.28246062154108131</c:v>
                </c:pt>
                <c:pt idx="199">
                  <c:v>0.2775582504428396</c:v>
                </c:pt>
                <c:pt idx="200">
                  <c:v>0.24600638977635783</c:v>
                </c:pt>
                <c:pt idx="201">
                  <c:v>0.22992325342194794</c:v>
                </c:pt>
                <c:pt idx="202">
                  <c:v>0.30559550268008889</c:v>
                </c:pt>
                <c:pt idx="203">
                  <c:v>0.30273825914027841</c:v>
                </c:pt>
                <c:pt idx="204">
                  <c:v>0.24771558012746678</c:v>
                </c:pt>
                <c:pt idx="205">
                  <c:v>0.2584597906353972</c:v>
                </c:pt>
                <c:pt idx="206">
                  <c:v>0.27541625857002938</c:v>
                </c:pt>
                <c:pt idx="207">
                  <c:v>0.11968016507608976</c:v>
                </c:pt>
                <c:pt idx="208">
                  <c:v>0.20932593923299228</c:v>
                </c:pt>
                <c:pt idx="209">
                  <c:v>0.26197429906542058</c:v>
                </c:pt>
                <c:pt idx="210">
                  <c:v>0.25115900772671818</c:v>
                </c:pt>
                <c:pt idx="211">
                  <c:v>0.23927724037233072</c:v>
                </c:pt>
                <c:pt idx="212">
                  <c:v>0.25671534162610421</c:v>
                </c:pt>
                <c:pt idx="213">
                  <c:v>0.22332199195793381</c:v>
                </c:pt>
                <c:pt idx="214">
                  <c:v>0.18802062673542244</c:v>
                </c:pt>
                <c:pt idx="215">
                  <c:v>9.8168870803662253E-2</c:v>
                </c:pt>
                <c:pt idx="216">
                  <c:v>0.18042422693585483</c:v>
                </c:pt>
                <c:pt idx="217">
                  <c:v>0.25023364485981309</c:v>
                </c:pt>
                <c:pt idx="218">
                  <c:v>0.24022954388047887</c:v>
                </c:pt>
                <c:pt idx="219">
                  <c:v>0.20354406130268199</c:v>
                </c:pt>
                <c:pt idx="220">
                  <c:v>0.1740211311373524</c:v>
                </c:pt>
                <c:pt idx="221">
                  <c:v>0.12866015971606035</c:v>
                </c:pt>
                <c:pt idx="222">
                  <c:v>0.12258941466315521</c:v>
                </c:pt>
                <c:pt idx="223">
                  <c:v>0.18642007467222366</c:v>
                </c:pt>
                <c:pt idx="224">
                  <c:v>0.14999516768145357</c:v>
                </c:pt>
                <c:pt idx="225">
                  <c:v>0.16322963998601889</c:v>
                </c:pt>
                <c:pt idx="226">
                  <c:v>0.14818629133768166</c:v>
                </c:pt>
                <c:pt idx="227">
                  <c:v>0.13376455368693402</c:v>
                </c:pt>
                <c:pt idx="228">
                  <c:v>0.10707547169811321</c:v>
                </c:pt>
                <c:pt idx="229">
                  <c:v>0.11832716105139554</c:v>
                </c:pt>
                <c:pt idx="230">
                  <c:v>0.15309446254071662</c:v>
                </c:pt>
                <c:pt idx="231">
                  <c:v>0.13616219809439398</c:v>
                </c:pt>
                <c:pt idx="232">
                  <c:v>0.13738259236067626</c:v>
                </c:pt>
                <c:pt idx="233">
                  <c:v>0.1240768094534712</c:v>
                </c:pt>
                <c:pt idx="234">
                  <c:v>0.11515689757252812</c:v>
                </c:pt>
                <c:pt idx="235">
                  <c:v>0.12829736211031176</c:v>
                </c:pt>
                <c:pt idx="236">
                  <c:v>9.8474737845567206E-2</c:v>
                </c:pt>
                <c:pt idx="237">
                  <c:v>0.14665494891793915</c:v>
                </c:pt>
                <c:pt idx="238">
                  <c:v>0.11018432705179693</c:v>
                </c:pt>
                <c:pt idx="239">
                  <c:v>0.10929754564139765</c:v>
                </c:pt>
                <c:pt idx="240">
                  <c:v>9.3007769145394006E-2</c:v>
                </c:pt>
                <c:pt idx="241">
                  <c:v>0.11652035115722266</c:v>
                </c:pt>
                <c:pt idx="242">
                  <c:v>8.3516483516483511E-2</c:v>
                </c:pt>
                <c:pt idx="243">
                  <c:v>7.0951978197537832E-2</c:v>
                </c:pt>
                <c:pt idx="244">
                  <c:v>0.10916694178496754</c:v>
                </c:pt>
                <c:pt idx="245">
                  <c:v>8.3673469387755106E-2</c:v>
                </c:pt>
                <c:pt idx="246">
                  <c:v>8.0361691288843601E-2</c:v>
                </c:pt>
                <c:pt idx="247">
                  <c:v>7.5656265477959381E-2</c:v>
                </c:pt>
                <c:pt idx="248">
                  <c:v>6.3047285464098074E-2</c:v>
                </c:pt>
                <c:pt idx="249">
                  <c:v>6.1702127659574467E-2</c:v>
                </c:pt>
                <c:pt idx="250">
                  <c:v>5.0158893755904835E-2</c:v>
                </c:pt>
                <c:pt idx="251">
                  <c:v>8.8467614533965247E-2</c:v>
                </c:pt>
                <c:pt idx="252">
                  <c:v>5.9315589353612169E-2</c:v>
                </c:pt>
                <c:pt idx="253">
                  <c:v>6.5594763801935116E-2</c:v>
                </c:pt>
                <c:pt idx="254">
                  <c:v>5.2877334679454824E-2</c:v>
                </c:pt>
                <c:pt idx="255">
                  <c:v>5.131922296317773E-2</c:v>
                </c:pt>
                <c:pt idx="256">
                  <c:v>3.3424657534246574E-2</c:v>
                </c:pt>
                <c:pt idx="257">
                  <c:v>2.8496656004652517E-2</c:v>
                </c:pt>
                <c:pt idx="258">
                  <c:v>4.9590950409049588E-2</c:v>
                </c:pt>
                <c:pt idx="259">
                  <c:v>2.9858790557292229E-2</c:v>
                </c:pt>
                <c:pt idx="260">
                  <c:v>3.6851878303099557E-2</c:v>
                </c:pt>
                <c:pt idx="261">
                  <c:v>2.5170648464163822E-2</c:v>
                </c:pt>
                <c:pt idx="262">
                  <c:v>2.7472527472527472E-2</c:v>
                </c:pt>
                <c:pt idx="263">
                  <c:v>2.9464822609741433E-2</c:v>
                </c:pt>
                <c:pt idx="264">
                  <c:v>1.7604818160759785E-2</c:v>
                </c:pt>
                <c:pt idx="265">
                  <c:v>2.0869265263884097E-2</c:v>
                </c:pt>
                <c:pt idx="266">
                  <c:v>3.0479724357275379E-2</c:v>
                </c:pt>
                <c:pt idx="267">
                  <c:v>2.2632226322263221E-2</c:v>
                </c:pt>
                <c:pt idx="268">
                  <c:v>1.863486316686189E-2</c:v>
                </c:pt>
                <c:pt idx="269">
                  <c:v>2.3477157360406092E-2</c:v>
                </c:pt>
                <c:pt idx="270">
                  <c:v>1.1314655172413793E-2</c:v>
                </c:pt>
                <c:pt idx="271">
                  <c:v>1.5957446808510637E-2</c:v>
                </c:pt>
                <c:pt idx="272">
                  <c:v>2.0161762982065408E-2</c:v>
                </c:pt>
                <c:pt idx="273">
                  <c:v>1.537135469041804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  <c:major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25639816114128E-2"/>
          <c:y val="3.7414076378474583E-2"/>
          <c:w val="0.93069323165507978"/>
          <c:h val="0.81046931681231571"/>
        </c:manualLayout>
      </c:layout>
      <c:lineChart>
        <c:grouping val="standard"/>
        <c:varyColors val="0"/>
        <c:ser>
          <c:idx val="0"/>
          <c:order val="0"/>
          <c:tx>
            <c:v>0,0215580597746203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3.5631652012956962E-2</c:v>
                </c:pt>
                <c:pt idx="1">
                  <c:v>3.67955286446204E-2</c:v>
                </c:pt>
                <c:pt idx="2">
                  <c:v>3.4547502816372512E-2</c:v>
                </c:pt>
                <c:pt idx="3">
                  <c:v>4.6008119079837616E-2</c:v>
                </c:pt>
                <c:pt idx="4">
                  <c:v>5.7562076749435663E-2</c:v>
                </c:pt>
                <c:pt idx="5">
                  <c:v>3.1924072476272651E-2</c:v>
                </c:pt>
                <c:pt idx="6">
                  <c:v>4.4653705953827463E-2</c:v>
                </c:pt>
                <c:pt idx="7">
                  <c:v>5.5070719229611799E-2</c:v>
                </c:pt>
                <c:pt idx="8">
                  <c:v>6.3768115942028983E-2</c:v>
                </c:pt>
                <c:pt idx="9">
                  <c:v>5.5121727147450623E-2</c:v>
                </c:pt>
                <c:pt idx="10">
                  <c:v>8.7166291412029598E-2</c:v>
                </c:pt>
                <c:pt idx="11">
                  <c:v>8.0487804878048783E-2</c:v>
                </c:pt>
                <c:pt idx="12">
                  <c:v>4.1697877652933833E-2</c:v>
                </c:pt>
                <c:pt idx="13">
                  <c:v>6.3394683026584867E-2</c:v>
                </c:pt>
                <c:pt idx="14">
                  <c:v>8.5167074164629181E-2</c:v>
                </c:pt>
                <c:pt idx="15">
                  <c:v>0.10740024608894358</c:v>
                </c:pt>
                <c:pt idx="16">
                  <c:v>7.6402851398281846E-2</c:v>
                </c:pt>
                <c:pt idx="17">
                  <c:v>9.0885280251440548E-2</c:v>
                </c:pt>
                <c:pt idx="18">
                  <c:v>7.0449352627570447E-2</c:v>
                </c:pt>
                <c:pt idx="19">
                  <c:v>6.8186706818670687E-2</c:v>
                </c:pt>
                <c:pt idx="20">
                  <c:v>8.3013347961236064E-2</c:v>
                </c:pt>
                <c:pt idx="21">
                  <c:v>8.45771144278607E-2</c:v>
                </c:pt>
                <c:pt idx="22">
                  <c:v>0.10752508361204013</c:v>
                </c:pt>
                <c:pt idx="23">
                  <c:v>0.10950920245398774</c:v>
                </c:pt>
                <c:pt idx="24">
                  <c:v>0.1160846040334481</c:v>
                </c:pt>
                <c:pt idx="25">
                  <c:v>0.10957910014513789</c:v>
                </c:pt>
                <c:pt idx="26">
                  <c:v>8.4129511677282373E-2</c:v>
                </c:pt>
                <c:pt idx="27">
                  <c:v>0.10111414757199916</c:v>
                </c:pt>
                <c:pt idx="28">
                  <c:v>0.12195589645254075</c:v>
                </c:pt>
                <c:pt idx="29">
                  <c:v>0.13107438016528924</c:v>
                </c:pt>
                <c:pt idx="30">
                  <c:v>0.15260232440626578</c:v>
                </c:pt>
                <c:pt idx="31">
                  <c:v>0.15286451262557699</c:v>
                </c:pt>
                <c:pt idx="32">
                  <c:v>0.20034642032332564</c:v>
                </c:pt>
                <c:pt idx="33">
                  <c:v>0.17322834645669291</c:v>
                </c:pt>
                <c:pt idx="34">
                  <c:v>0.16208059648499912</c:v>
                </c:pt>
                <c:pt idx="35">
                  <c:v>0.19250780437044746</c:v>
                </c:pt>
                <c:pt idx="36">
                  <c:v>0.18899204244031831</c:v>
                </c:pt>
                <c:pt idx="37">
                  <c:v>0.26299302292467608</c:v>
                </c:pt>
                <c:pt idx="38">
                  <c:v>0.22722937529804482</c:v>
                </c:pt>
                <c:pt idx="39">
                  <c:v>0.22145328719723184</c:v>
                </c:pt>
                <c:pt idx="40">
                  <c:v>0.17899142914092087</c:v>
                </c:pt>
                <c:pt idx="41">
                  <c:v>0.21145570559430182</c:v>
                </c:pt>
                <c:pt idx="42">
                  <c:v>0.22178632143324178</c:v>
                </c:pt>
                <c:pt idx="43">
                  <c:v>0.20893018453994064</c:v>
                </c:pt>
                <c:pt idx="44">
                  <c:v>0.23327718960538979</c:v>
                </c:pt>
                <c:pt idx="45">
                  <c:v>0.23045822102425875</c:v>
                </c:pt>
                <c:pt idx="46">
                  <c:v>0.23646088700690884</c:v>
                </c:pt>
                <c:pt idx="47">
                  <c:v>0.22354118993135011</c:v>
                </c:pt>
                <c:pt idx="48">
                  <c:v>0.23070434415858287</c:v>
                </c:pt>
                <c:pt idx="49">
                  <c:v>0.26353092783505155</c:v>
                </c:pt>
                <c:pt idx="50">
                  <c:v>0.25152359394044926</c:v>
                </c:pt>
                <c:pt idx="51">
                  <c:v>0.268902385353402</c:v>
                </c:pt>
                <c:pt idx="52">
                  <c:v>0.25198412698412698</c:v>
                </c:pt>
                <c:pt idx="53">
                  <c:v>0.27604895104895105</c:v>
                </c:pt>
                <c:pt idx="54">
                  <c:v>0.25115125752745304</c:v>
                </c:pt>
                <c:pt idx="55">
                  <c:v>0.26656572853580335</c:v>
                </c:pt>
                <c:pt idx="56">
                  <c:v>0.24526515151515152</c:v>
                </c:pt>
                <c:pt idx="57">
                  <c:v>0.23325942350332593</c:v>
                </c:pt>
                <c:pt idx="58">
                  <c:v>0.23372401403028489</c:v>
                </c:pt>
                <c:pt idx="59">
                  <c:v>0.24872885752827645</c:v>
                </c:pt>
                <c:pt idx="60">
                  <c:v>0.27458256029684602</c:v>
                </c:pt>
                <c:pt idx="61">
                  <c:v>0.22065313327449249</c:v>
                </c:pt>
                <c:pt idx="62">
                  <c:v>0.22153442130932283</c:v>
                </c:pt>
                <c:pt idx="63">
                  <c:v>0.26794464024757159</c:v>
                </c:pt>
                <c:pt idx="64">
                  <c:v>0.23898121387283236</c:v>
                </c:pt>
                <c:pt idx="65">
                  <c:v>0.24649913677345098</c:v>
                </c:pt>
                <c:pt idx="66">
                  <c:v>0.26058720064943852</c:v>
                </c:pt>
                <c:pt idx="67">
                  <c:v>0.23106929784304728</c:v>
                </c:pt>
                <c:pt idx="68">
                  <c:v>0.18476889551554077</c:v>
                </c:pt>
                <c:pt idx="69">
                  <c:v>0.20009354536950422</c:v>
                </c:pt>
                <c:pt idx="70">
                  <c:v>0.20455422616750291</c:v>
                </c:pt>
                <c:pt idx="71">
                  <c:v>0.20774108900065602</c:v>
                </c:pt>
                <c:pt idx="72">
                  <c:v>0.20558460340416065</c:v>
                </c:pt>
                <c:pt idx="73">
                  <c:v>0.23604874919820398</c:v>
                </c:pt>
                <c:pt idx="74">
                  <c:v>0.21541353383458647</c:v>
                </c:pt>
                <c:pt idx="75">
                  <c:v>0.15748625633286623</c:v>
                </c:pt>
                <c:pt idx="76">
                  <c:v>0.22099867097019177</c:v>
                </c:pt>
                <c:pt idx="77">
                  <c:v>0.17822034980211923</c:v>
                </c:pt>
                <c:pt idx="78">
                  <c:v>0.20878683302362622</c:v>
                </c:pt>
                <c:pt idx="79">
                  <c:v>0.2111080786026201</c:v>
                </c:pt>
                <c:pt idx="80">
                  <c:v>0.20111607142857144</c:v>
                </c:pt>
                <c:pt idx="81">
                  <c:v>0.21172387196297723</c:v>
                </c:pt>
                <c:pt idx="82">
                  <c:v>0.13008895866038722</c:v>
                </c:pt>
                <c:pt idx="83">
                  <c:v>0.19526707234617985</c:v>
                </c:pt>
                <c:pt idx="84">
                  <c:v>0.18094970497330712</c:v>
                </c:pt>
                <c:pt idx="85">
                  <c:v>0.16389776357827476</c:v>
                </c:pt>
                <c:pt idx="86">
                  <c:v>0.17479409073081448</c:v>
                </c:pt>
                <c:pt idx="87">
                  <c:v>0.22026328161730135</c:v>
                </c:pt>
                <c:pt idx="88">
                  <c:v>0.19578745811393011</c:v>
                </c:pt>
                <c:pt idx="89">
                  <c:v>0.11072106261859582</c:v>
                </c:pt>
                <c:pt idx="90">
                  <c:v>0.18869512928442575</c:v>
                </c:pt>
                <c:pt idx="91">
                  <c:v>0.17607223476297967</c:v>
                </c:pt>
                <c:pt idx="92">
                  <c:v>0.19577735124760076</c:v>
                </c:pt>
                <c:pt idx="93">
                  <c:v>0.19774078478002377</c:v>
                </c:pt>
                <c:pt idx="94">
                  <c:v>0.26808059384941674</c:v>
                </c:pt>
                <c:pt idx="95">
                  <c:v>0.16201582673885881</c:v>
                </c:pt>
                <c:pt idx="96">
                  <c:v>0.12799559269121294</c:v>
                </c:pt>
                <c:pt idx="97">
                  <c:v>0.18696854830447701</c:v>
                </c:pt>
                <c:pt idx="98">
                  <c:v>0.19622181596587446</c:v>
                </c:pt>
                <c:pt idx="99">
                  <c:v>0.20252135014233427</c:v>
                </c:pt>
                <c:pt idx="100">
                  <c:v>0.18576652100240792</c:v>
                </c:pt>
                <c:pt idx="101">
                  <c:v>0.20862041339528922</c:v>
                </c:pt>
                <c:pt idx="102">
                  <c:v>0.21620785648004948</c:v>
                </c:pt>
                <c:pt idx="103">
                  <c:v>0.13660644147682641</c:v>
                </c:pt>
                <c:pt idx="104">
                  <c:v>0.19526486657692613</c:v>
                </c:pt>
                <c:pt idx="105">
                  <c:v>0.18181818181818182</c:v>
                </c:pt>
                <c:pt idx="106">
                  <c:v>0.17291799109980929</c:v>
                </c:pt>
                <c:pt idx="107">
                  <c:v>0.17694783424969826</c:v>
                </c:pt>
                <c:pt idx="108">
                  <c:v>0.17523747133966591</c:v>
                </c:pt>
                <c:pt idx="109">
                  <c:v>0.18505788712011578</c:v>
                </c:pt>
                <c:pt idx="110">
                  <c:v>0.14216112754480598</c:v>
                </c:pt>
                <c:pt idx="111">
                  <c:v>0.16736753574432295</c:v>
                </c:pt>
                <c:pt idx="112">
                  <c:v>0.18034831410627589</c:v>
                </c:pt>
                <c:pt idx="113">
                  <c:v>0.23353409753254323</c:v>
                </c:pt>
                <c:pt idx="114">
                  <c:v>0.21532404603270744</c:v>
                </c:pt>
                <c:pt idx="115">
                  <c:v>0.18534299105240734</c:v>
                </c:pt>
                <c:pt idx="116">
                  <c:v>0.19259896729776249</c:v>
                </c:pt>
                <c:pt idx="117">
                  <c:v>0.19897209985315711</c:v>
                </c:pt>
                <c:pt idx="118">
                  <c:v>0.26677551880332878</c:v>
                </c:pt>
                <c:pt idx="119">
                  <c:v>0.26728899690676095</c:v>
                </c:pt>
                <c:pt idx="120">
                  <c:v>0.29861411866608922</c:v>
                </c:pt>
                <c:pt idx="121">
                  <c:v>0.35259928963513076</c:v>
                </c:pt>
                <c:pt idx="122">
                  <c:v>0.20339470655926353</c:v>
                </c:pt>
                <c:pt idx="123">
                  <c:v>0.25677977204244729</c:v>
                </c:pt>
                <c:pt idx="124">
                  <c:v>0.19446072684642438</c:v>
                </c:pt>
                <c:pt idx="125">
                  <c:v>0.246334167034476</c:v>
                </c:pt>
                <c:pt idx="126">
                  <c:v>0.28579577866514544</c:v>
                </c:pt>
                <c:pt idx="127">
                  <c:v>0.25886644219977556</c:v>
                </c:pt>
                <c:pt idx="128">
                  <c:v>0.22371507784175731</c:v>
                </c:pt>
                <c:pt idx="129">
                  <c:v>0.28072519083969466</c:v>
                </c:pt>
                <c:pt idx="130">
                  <c:v>0.23412759415833975</c:v>
                </c:pt>
                <c:pt idx="131">
                  <c:v>0.15411139313251282</c:v>
                </c:pt>
                <c:pt idx="132">
                  <c:v>0.20404573438874229</c:v>
                </c:pt>
                <c:pt idx="133">
                  <c:v>0.22574327933060354</c:v>
                </c:pt>
                <c:pt idx="134">
                  <c:v>0.177125</c:v>
                </c:pt>
                <c:pt idx="135">
                  <c:v>0.20706713780918728</c:v>
                </c:pt>
                <c:pt idx="136">
                  <c:v>0.23955555555555555</c:v>
                </c:pt>
                <c:pt idx="137">
                  <c:v>0.22285353535353536</c:v>
                </c:pt>
                <c:pt idx="138">
                  <c:v>0.15924499647448068</c:v>
                </c:pt>
                <c:pt idx="139">
                  <c:v>0.22022083770279441</c:v>
                </c:pt>
                <c:pt idx="140">
                  <c:v>0.20333909804443262</c:v>
                </c:pt>
                <c:pt idx="141">
                  <c:v>0.19517855805944448</c:v>
                </c:pt>
                <c:pt idx="142">
                  <c:v>0.19130223812700917</c:v>
                </c:pt>
                <c:pt idx="143">
                  <c:v>0.22289972899728996</c:v>
                </c:pt>
                <c:pt idx="144">
                  <c:v>0.20521376433785193</c:v>
                </c:pt>
                <c:pt idx="145">
                  <c:v>0.14755927475592748</c:v>
                </c:pt>
                <c:pt idx="146">
                  <c:v>0.22087575738647011</c:v>
                </c:pt>
                <c:pt idx="147">
                  <c:v>0.18344869094191996</c:v>
                </c:pt>
                <c:pt idx="148">
                  <c:v>0.21850282485875705</c:v>
                </c:pt>
                <c:pt idx="149">
                  <c:v>0.19003279456547201</c:v>
                </c:pt>
                <c:pt idx="150">
                  <c:v>0.20355511665226514</c:v>
                </c:pt>
                <c:pt idx="151">
                  <c:v>0.20203045685279189</c:v>
                </c:pt>
                <c:pt idx="152">
                  <c:v>0.14866355091109595</c:v>
                </c:pt>
                <c:pt idx="153">
                  <c:v>0.19872947381037995</c:v>
                </c:pt>
                <c:pt idx="154">
                  <c:v>0.21585258847616262</c:v>
                </c:pt>
                <c:pt idx="155">
                  <c:v>0.19214423696072119</c:v>
                </c:pt>
                <c:pt idx="156">
                  <c:v>0.18788732394366198</c:v>
                </c:pt>
                <c:pt idx="157">
                  <c:v>0.23577329050022947</c:v>
                </c:pt>
                <c:pt idx="158">
                  <c:v>0.17692163830185151</c:v>
                </c:pt>
                <c:pt idx="159">
                  <c:v>0.16415374814185602</c:v>
                </c:pt>
                <c:pt idx="160">
                  <c:v>0.21525295200953309</c:v>
                </c:pt>
                <c:pt idx="161">
                  <c:v>0.20453488372093023</c:v>
                </c:pt>
                <c:pt idx="162">
                  <c:v>0.20435217608804401</c:v>
                </c:pt>
                <c:pt idx="163">
                  <c:v>0.18871369294605808</c:v>
                </c:pt>
                <c:pt idx="164">
                  <c:v>0.21641225506116704</c:v>
                </c:pt>
                <c:pt idx="165">
                  <c:v>0.1984315155936531</c:v>
                </c:pt>
                <c:pt idx="166">
                  <c:v>0.17267795964979063</c:v>
                </c:pt>
                <c:pt idx="167">
                  <c:v>0.23279714030384271</c:v>
                </c:pt>
                <c:pt idx="168">
                  <c:v>0.20137959435807681</c:v>
                </c:pt>
                <c:pt idx="169">
                  <c:v>0.21540263841491367</c:v>
                </c:pt>
                <c:pt idx="170">
                  <c:v>0.19080199365654735</c:v>
                </c:pt>
                <c:pt idx="171">
                  <c:v>0.24631655066437674</c:v>
                </c:pt>
                <c:pt idx="172">
                  <c:v>0.22529585798816568</c:v>
                </c:pt>
                <c:pt idx="173">
                  <c:v>0.17906097368835672</c:v>
                </c:pt>
                <c:pt idx="174">
                  <c:v>0.2399136033906594</c:v>
                </c:pt>
                <c:pt idx="175">
                  <c:v>0.20213815789473685</c:v>
                </c:pt>
                <c:pt idx="176">
                  <c:v>0.2219725237449118</c:v>
                </c:pt>
                <c:pt idx="177">
                  <c:v>0.20409768374690315</c:v>
                </c:pt>
                <c:pt idx="178">
                  <c:v>0.21823685206205071</c:v>
                </c:pt>
                <c:pt idx="179">
                  <c:v>0.21241668723771909</c:v>
                </c:pt>
                <c:pt idx="180">
                  <c:v>0.17168774659832589</c:v>
                </c:pt>
                <c:pt idx="181">
                  <c:v>0.22161352762864761</c:v>
                </c:pt>
                <c:pt idx="182">
                  <c:v>0.20950786481856409</c:v>
                </c:pt>
                <c:pt idx="183">
                  <c:v>0.19136305435921314</c:v>
                </c:pt>
                <c:pt idx="184">
                  <c:v>0.16773733047822983</c:v>
                </c:pt>
                <c:pt idx="185">
                  <c:v>0.2623318385650224</c:v>
                </c:pt>
                <c:pt idx="186">
                  <c:v>0.16873889875666073</c:v>
                </c:pt>
                <c:pt idx="187">
                  <c:v>0.12623122383649346</c:v>
                </c:pt>
                <c:pt idx="188">
                  <c:v>0.17481680873336325</c:v>
                </c:pt>
                <c:pt idx="189">
                  <c:v>0.16122133776880124</c:v>
                </c:pt>
                <c:pt idx="190">
                  <c:v>0.12292940778757798</c:v>
                </c:pt>
                <c:pt idx="191">
                  <c:v>0.16483377174912053</c:v>
                </c:pt>
                <c:pt idx="192">
                  <c:v>0.21848235697156559</c:v>
                </c:pt>
                <c:pt idx="193">
                  <c:v>0.15466767181806759</c:v>
                </c:pt>
                <c:pt idx="194">
                  <c:v>0.11812314853999153</c:v>
                </c:pt>
                <c:pt idx="195">
                  <c:v>0.15441387628510711</c:v>
                </c:pt>
                <c:pt idx="196">
                  <c:v>0.13694131955001521</c:v>
                </c:pt>
                <c:pt idx="197">
                  <c:v>0.13008892481810833</c:v>
                </c:pt>
                <c:pt idx="198">
                  <c:v>0.13224222585924714</c:v>
                </c:pt>
                <c:pt idx="199">
                  <c:v>0.20489465452203515</c:v>
                </c:pt>
                <c:pt idx="200">
                  <c:v>0.125</c:v>
                </c:pt>
                <c:pt idx="201">
                  <c:v>9.5030583046753991E-2</c:v>
                </c:pt>
                <c:pt idx="202">
                  <c:v>0.12928322178365081</c:v>
                </c:pt>
                <c:pt idx="203">
                  <c:v>0.10666972717733474</c:v>
                </c:pt>
                <c:pt idx="204">
                  <c:v>0.10068841064028873</c:v>
                </c:pt>
                <c:pt idx="205">
                  <c:v>0.11830166731291199</c:v>
                </c:pt>
                <c:pt idx="206">
                  <c:v>0.18409251829124382</c:v>
                </c:pt>
                <c:pt idx="207">
                  <c:v>0.12502129109180718</c:v>
                </c:pt>
                <c:pt idx="208">
                  <c:v>8.1258191349934464E-2</c:v>
                </c:pt>
                <c:pt idx="209">
                  <c:v>0.10686313964647247</c:v>
                </c:pt>
                <c:pt idx="210">
                  <c:v>9.1229109093301744E-2</c:v>
                </c:pt>
                <c:pt idx="211">
                  <c:v>7.37899708209247E-2</c:v>
                </c:pt>
                <c:pt idx="212">
                  <c:v>0.14622924584916983</c:v>
                </c:pt>
                <c:pt idx="213">
                  <c:v>0.15569520816967794</c:v>
                </c:pt>
                <c:pt idx="214">
                  <c:v>0.1431037459002244</c:v>
                </c:pt>
                <c:pt idx="215">
                  <c:v>8.9244186046511631E-2</c:v>
                </c:pt>
                <c:pt idx="216">
                  <c:v>5.2130283187345861E-2</c:v>
                </c:pt>
                <c:pt idx="217">
                  <c:v>7.7287995756968583E-2</c:v>
                </c:pt>
                <c:pt idx="218">
                  <c:v>6.6450683945284375E-2</c:v>
                </c:pt>
                <c:pt idx="219">
                  <c:v>8.1318181818181817E-2</c:v>
                </c:pt>
                <c:pt idx="220">
                  <c:v>0.12259718069201196</c:v>
                </c:pt>
                <c:pt idx="221">
                  <c:v>6.5696855936180201E-2</c:v>
                </c:pt>
                <c:pt idx="222">
                  <c:v>4.8180462753327075E-2</c:v>
                </c:pt>
                <c:pt idx="223">
                  <c:v>6.431036607913225E-2</c:v>
                </c:pt>
                <c:pt idx="224">
                  <c:v>5.2920092768290114E-2</c:v>
                </c:pt>
                <c:pt idx="225">
                  <c:v>4.6736951518301283E-2</c:v>
                </c:pt>
                <c:pt idx="226">
                  <c:v>6.8105898190158054E-2</c:v>
                </c:pt>
                <c:pt idx="227">
                  <c:v>9.8771051433773321E-2</c:v>
                </c:pt>
                <c:pt idx="228">
                  <c:v>5.5490993608367227E-2</c:v>
                </c:pt>
                <c:pt idx="229">
                  <c:v>4.1142086330935253E-2</c:v>
                </c:pt>
                <c:pt idx="230">
                  <c:v>4.7292465708899431E-2</c:v>
                </c:pt>
                <c:pt idx="231">
                  <c:v>4.2965793173052665E-2</c:v>
                </c:pt>
                <c:pt idx="232">
                  <c:v>3.7630913687251716E-2</c:v>
                </c:pt>
                <c:pt idx="233">
                  <c:v>5.5320821460155253E-2</c:v>
                </c:pt>
                <c:pt idx="234">
                  <c:v>8.5404624277456653E-2</c:v>
                </c:pt>
                <c:pt idx="235">
                  <c:v>6.2954369682907962E-2</c:v>
                </c:pt>
                <c:pt idx="236">
                  <c:v>3.1376716351128389E-2</c:v>
                </c:pt>
                <c:pt idx="237">
                  <c:v>4.0998677462017352E-2</c:v>
                </c:pt>
                <c:pt idx="238">
                  <c:v>3.5959885386819483E-2</c:v>
                </c:pt>
                <c:pt idx="239">
                  <c:v>3.164424618387119E-2</c:v>
                </c:pt>
                <c:pt idx="240">
                  <c:v>4.5534316748090879E-2</c:v>
                </c:pt>
                <c:pt idx="241">
                  <c:v>9.6111015932842214E-2</c:v>
                </c:pt>
                <c:pt idx="242">
                  <c:v>3.2129032258064516E-2</c:v>
                </c:pt>
                <c:pt idx="243">
                  <c:v>2.400361182873912E-2</c:v>
                </c:pt>
                <c:pt idx="244">
                  <c:v>3.1632900642969794E-2</c:v>
                </c:pt>
                <c:pt idx="245">
                  <c:v>2.8326513334274023E-2</c:v>
                </c:pt>
                <c:pt idx="246">
                  <c:v>2.3764495985727028E-2</c:v>
                </c:pt>
                <c:pt idx="247">
                  <c:v>3.6385658914728683E-2</c:v>
                </c:pt>
                <c:pt idx="248">
                  <c:v>5.4833333333333331E-2</c:v>
                </c:pt>
                <c:pt idx="249">
                  <c:v>2.4109589041095891E-2</c:v>
                </c:pt>
                <c:pt idx="250">
                  <c:v>1.7749309341613086E-2</c:v>
                </c:pt>
                <c:pt idx="251">
                  <c:v>2.0102583707668292E-2</c:v>
                </c:pt>
                <c:pt idx="252">
                  <c:v>1.8524548645030572E-2</c:v>
                </c:pt>
                <c:pt idx="253">
                  <c:v>1.7616432494115968E-2</c:v>
                </c:pt>
                <c:pt idx="254">
                  <c:v>2.1794123370305507E-2</c:v>
                </c:pt>
                <c:pt idx="255">
                  <c:v>4.0909762221237628E-2</c:v>
                </c:pt>
                <c:pt idx="256">
                  <c:v>1.5407487498310583E-2</c:v>
                </c:pt>
                <c:pt idx="257">
                  <c:v>1.0945672346887127E-2</c:v>
                </c:pt>
                <c:pt idx="258">
                  <c:v>1.3913758182405261E-2</c:v>
                </c:pt>
                <c:pt idx="259">
                  <c:v>1.1889079172704518E-2</c:v>
                </c:pt>
                <c:pt idx="260">
                  <c:v>9.8368131331227002E-3</c:v>
                </c:pt>
                <c:pt idx="261">
                  <c:v>1.215686274509804E-2</c:v>
                </c:pt>
                <c:pt idx="262">
                  <c:v>2.252797097066828E-2</c:v>
                </c:pt>
                <c:pt idx="263">
                  <c:v>1.2634903922084759E-2</c:v>
                </c:pt>
                <c:pt idx="264">
                  <c:v>8.5640601430587316E-3</c:v>
                </c:pt>
                <c:pt idx="265">
                  <c:v>1.0486946318568495E-2</c:v>
                </c:pt>
                <c:pt idx="266">
                  <c:v>8.7584380073485422E-3</c:v>
                </c:pt>
                <c:pt idx="267">
                  <c:v>9.43474646716542E-3</c:v>
                </c:pt>
                <c:pt idx="268">
                  <c:v>9.2102123598186598E-3</c:v>
                </c:pt>
                <c:pt idx="269">
                  <c:v>1.5990954611532871E-2</c:v>
                </c:pt>
                <c:pt idx="270">
                  <c:v>9.204888112997937E-3</c:v>
                </c:pt>
                <c:pt idx="271">
                  <c:v>6.5928959368011389E-3</c:v>
                </c:pt>
                <c:pt idx="272">
                  <c:v>1.0150590926420129E-2</c:v>
                </c:pt>
                <c:pt idx="273">
                  <c:v>8.941785890478540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648004434438759E-2"/>
          <c:y val="3.26071322589827E-2"/>
          <c:w val="0.93069323165507978"/>
          <c:h val="0.82729398410055177"/>
        </c:manualLayout>
      </c:layout>
      <c:lineChart>
        <c:grouping val="standard"/>
        <c:varyColors val="0"/>
        <c:ser>
          <c:idx val="0"/>
          <c:order val="0"/>
          <c:tx>
            <c:v>0,0168888888888889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94</c:f>
              <c:numCache>
                <c:formatCode>m/d/yyyy</c:formatCode>
                <c:ptCount val="493"/>
                <c:pt idx="0">
                  <c:v>44076</c:v>
                </c:pt>
                <c:pt idx="1">
                  <c:v>44077</c:v>
                </c:pt>
                <c:pt idx="2">
                  <c:v>44078</c:v>
                </c:pt>
                <c:pt idx="3">
                  <c:v>44079</c:v>
                </c:pt>
                <c:pt idx="4">
                  <c:v>44080</c:v>
                </c:pt>
                <c:pt idx="5">
                  <c:v>44081</c:v>
                </c:pt>
                <c:pt idx="6">
                  <c:v>44082</c:v>
                </c:pt>
                <c:pt idx="7">
                  <c:v>44083</c:v>
                </c:pt>
                <c:pt idx="8">
                  <c:v>44084</c:v>
                </c:pt>
                <c:pt idx="9">
                  <c:v>44085</c:v>
                </c:pt>
                <c:pt idx="10">
                  <c:v>44086</c:v>
                </c:pt>
                <c:pt idx="11">
                  <c:v>44087</c:v>
                </c:pt>
                <c:pt idx="12">
                  <c:v>44088</c:v>
                </c:pt>
                <c:pt idx="13">
                  <c:v>44089</c:v>
                </c:pt>
                <c:pt idx="14">
                  <c:v>44090</c:v>
                </c:pt>
                <c:pt idx="15">
                  <c:v>44091</c:v>
                </c:pt>
                <c:pt idx="16">
                  <c:v>44092</c:v>
                </c:pt>
                <c:pt idx="17">
                  <c:v>44093</c:v>
                </c:pt>
                <c:pt idx="18">
                  <c:v>44094</c:v>
                </c:pt>
                <c:pt idx="19">
                  <c:v>44095</c:v>
                </c:pt>
                <c:pt idx="20">
                  <c:v>44096</c:v>
                </c:pt>
                <c:pt idx="21">
                  <c:v>44097</c:v>
                </c:pt>
                <c:pt idx="22">
                  <c:v>44098</c:v>
                </c:pt>
                <c:pt idx="23">
                  <c:v>44099</c:v>
                </c:pt>
                <c:pt idx="24">
                  <c:v>44100</c:v>
                </c:pt>
                <c:pt idx="25">
                  <c:v>44101</c:v>
                </c:pt>
                <c:pt idx="26">
                  <c:v>44102</c:v>
                </c:pt>
                <c:pt idx="27">
                  <c:v>44103</c:v>
                </c:pt>
                <c:pt idx="28">
                  <c:v>44104</c:v>
                </c:pt>
                <c:pt idx="29">
                  <c:v>44105</c:v>
                </c:pt>
                <c:pt idx="30">
                  <c:v>44106</c:v>
                </c:pt>
                <c:pt idx="31">
                  <c:v>44107</c:v>
                </c:pt>
                <c:pt idx="32">
                  <c:v>44108</c:v>
                </c:pt>
                <c:pt idx="33">
                  <c:v>44109</c:v>
                </c:pt>
                <c:pt idx="34">
                  <c:v>44110</c:v>
                </c:pt>
                <c:pt idx="35">
                  <c:v>44111</c:v>
                </c:pt>
                <c:pt idx="36">
                  <c:v>44112</c:v>
                </c:pt>
                <c:pt idx="37">
                  <c:v>44113</c:v>
                </c:pt>
                <c:pt idx="38">
                  <c:v>44114</c:v>
                </c:pt>
                <c:pt idx="39">
                  <c:v>44115</c:v>
                </c:pt>
                <c:pt idx="40">
                  <c:v>44116</c:v>
                </c:pt>
                <c:pt idx="41">
                  <c:v>44117</c:v>
                </c:pt>
                <c:pt idx="42">
                  <c:v>44118</c:v>
                </c:pt>
                <c:pt idx="43">
                  <c:v>44119</c:v>
                </c:pt>
                <c:pt idx="44">
                  <c:v>44120</c:v>
                </c:pt>
                <c:pt idx="45">
                  <c:v>44121</c:v>
                </c:pt>
                <c:pt idx="46">
                  <c:v>44122</c:v>
                </c:pt>
                <c:pt idx="47">
                  <c:v>44123</c:v>
                </c:pt>
                <c:pt idx="48">
                  <c:v>44124</c:v>
                </c:pt>
                <c:pt idx="49">
                  <c:v>44125</c:v>
                </c:pt>
                <c:pt idx="50">
                  <c:v>44126</c:v>
                </c:pt>
                <c:pt idx="51">
                  <c:v>44127</c:v>
                </c:pt>
                <c:pt idx="52">
                  <c:v>44128</c:v>
                </c:pt>
                <c:pt idx="53">
                  <c:v>44129</c:v>
                </c:pt>
                <c:pt idx="54">
                  <c:v>44130</c:v>
                </c:pt>
                <c:pt idx="55">
                  <c:v>44131</c:v>
                </c:pt>
                <c:pt idx="56">
                  <c:v>44132</c:v>
                </c:pt>
                <c:pt idx="57">
                  <c:v>44133</c:v>
                </c:pt>
                <c:pt idx="58">
                  <c:v>44134</c:v>
                </c:pt>
                <c:pt idx="59">
                  <c:v>44135</c:v>
                </c:pt>
                <c:pt idx="60">
                  <c:v>44136</c:v>
                </c:pt>
                <c:pt idx="61">
                  <c:v>44137</c:v>
                </c:pt>
                <c:pt idx="62">
                  <c:v>44138</c:v>
                </c:pt>
                <c:pt idx="63">
                  <c:v>44139</c:v>
                </c:pt>
                <c:pt idx="64">
                  <c:v>44140</c:v>
                </c:pt>
                <c:pt idx="65">
                  <c:v>44141</c:v>
                </c:pt>
                <c:pt idx="66">
                  <c:v>44142</c:v>
                </c:pt>
                <c:pt idx="67">
                  <c:v>44143</c:v>
                </c:pt>
                <c:pt idx="68">
                  <c:v>44144</c:v>
                </c:pt>
                <c:pt idx="69">
                  <c:v>44145</c:v>
                </c:pt>
                <c:pt idx="70">
                  <c:v>44146</c:v>
                </c:pt>
                <c:pt idx="71">
                  <c:v>44147</c:v>
                </c:pt>
                <c:pt idx="72">
                  <c:v>44148</c:v>
                </c:pt>
                <c:pt idx="73">
                  <c:v>44149</c:v>
                </c:pt>
                <c:pt idx="74">
                  <c:v>44150</c:v>
                </c:pt>
                <c:pt idx="75">
                  <c:v>44151</c:v>
                </c:pt>
                <c:pt idx="76">
                  <c:v>44152</c:v>
                </c:pt>
                <c:pt idx="77">
                  <c:v>44153</c:v>
                </c:pt>
                <c:pt idx="78">
                  <c:v>44154</c:v>
                </c:pt>
                <c:pt idx="79">
                  <c:v>44155</c:v>
                </c:pt>
                <c:pt idx="80">
                  <c:v>44156</c:v>
                </c:pt>
                <c:pt idx="81">
                  <c:v>44157</c:v>
                </c:pt>
                <c:pt idx="82">
                  <c:v>44158</c:v>
                </c:pt>
                <c:pt idx="83">
                  <c:v>44159</c:v>
                </c:pt>
                <c:pt idx="84">
                  <c:v>44160</c:v>
                </c:pt>
                <c:pt idx="85">
                  <c:v>44161</c:v>
                </c:pt>
                <c:pt idx="86">
                  <c:v>44162</c:v>
                </c:pt>
                <c:pt idx="87">
                  <c:v>44163</c:v>
                </c:pt>
                <c:pt idx="88">
                  <c:v>44164</c:v>
                </c:pt>
                <c:pt idx="89">
                  <c:v>44165</c:v>
                </c:pt>
                <c:pt idx="90">
                  <c:v>44166</c:v>
                </c:pt>
                <c:pt idx="91">
                  <c:v>44167</c:v>
                </c:pt>
                <c:pt idx="92">
                  <c:v>44168</c:v>
                </c:pt>
                <c:pt idx="93">
                  <c:v>44169</c:v>
                </c:pt>
                <c:pt idx="94">
                  <c:v>44170</c:v>
                </c:pt>
                <c:pt idx="95">
                  <c:v>44171</c:v>
                </c:pt>
                <c:pt idx="96">
                  <c:v>44172</c:v>
                </c:pt>
                <c:pt idx="97">
                  <c:v>44173</c:v>
                </c:pt>
                <c:pt idx="98">
                  <c:v>44174</c:v>
                </c:pt>
                <c:pt idx="99">
                  <c:v>44175</c:v>
                </c:pt>
                <c:pt idx="100">
                  <c:v>44176</c:v>
                </c:pt>
                <c:pt idx="101">
                  <c:v>44177</c:v>
                </c:pt>
                <c:pt idx="102">
                  <c:v>44178</c:v>
                </c:pt>
                <c:pt idx="103">
                  <c:v>44179</c:v>
                </c:pt>
                <c:pt idx="104">
                  <c:v>44180</c:v>
                </c:pt>
                <c:pt idx="105">
                  <c:v>44181</c:v>
                </c:pt>
                <c:pt idx="106">
                  <c:v>44182</c:v>
                </c:pt>
                <c:pt idx="107">
                  <c:v>44183</c:v>
                </c:pt>
                <c:pt idx="108">
                  <c:v>44184</c:v>
                </c:pt>
                <c:pt idx="109">
                  <c:v>44185</c:v>
                </c:pt>
                <c:pt idx="110">
                  <c:v>44186</c:v>
                </c:pt>
                <c:pt idx="111">
                  <c:v>44187</c:v>
                </c:pt>
                <c:pt idx="112">
                  <c:v>44188</c:v>
                </c:pt>
                <c:pt idx="113">
                  <c:v>44189</c:v>
                </c:pt>
                <c:pt idx="114">
                  <c:v>44190</c:v>
                </c:pt>
                <c:pt idx="115">
                  <c:v>44191</c:v>
                </c:pt>
                <c:pt idx="116">
                  <c:v>44192</c:v>
                </c:pt>
                <c:pt idx="117">
                  <c:v>44193</c:v>
                </c:pt>
                <c:pt idx="118">
                  <c:v>44194</c:v>
                </c:pt>
                <c:pt idx="119">
                  <c:v>44195</c:v>
                </c:pt>
                <c:pt idx="120">
                  <c:v>44196</c:v>
                </c:pt>
                <c:pt idx="121">
                  <c:v>44197</c:v>
                </c:pt>
                <c:pt idx="122">
                  <c:v>44198</c:v>
                </c:pt>
                <c:pt idx="123">
                  <c:v>44199</c:v>
                </c:pt>
                <c:pt idx="124">
                  <c:v>44200</c:v>
                </c:pt>
                <c:pt idx="125">
                  <c:v>44201</c:v>
                </c:pt>
                <c:pt idx="126">
                  <c:v>44202</c:v>
                </c:pt>
                <c:pt idx="127">
                  <c:v>44203</c:v>
                </c:pt>
                <c:pt idx="128">
                  <c:v>44204</c:v>
                </c:pt>
                <c:pt idx="129">
                  <c:v>44205</c:v>
                </c:pt>
                <c:pt idx="130">
                  <c:v>44206</c:v>
                </c:pt>
                <c:pt idx="131">
                  <c:v>44207</c:v>
                </c:pt>
                <c:pt idx="132">
                  <c:v>44208</c:v>
                </c:pt>
                <c:pt idx="133">
                  <c:v>44209</c:v>
                </c:pt>
                <c:pt idx="134">
                  <c:v>44210</c:v>
                </c:pt>
                <c:pt idx="135">
                  <c:v>44211</c:v>
                </c:pt>
                <c:pt idx="136">
                  <c:v>44212</c:v>
                </c:pt>
                <c:pt idx="137">
                  <c:v>44213</c:v>
                </c:pt>
                <c:pt idx="138">
                  <c:v>44214</c:v>
                </c:pt>
                <c:pt idx="139">
                  <c:v>44215</c:v>
                </c:pt>
                <c:pt idx="140">
                  <c:v>44216</c:v>
                </c:pt>
                <c:pt idx="141">
                  <c:v>44217</c:v>
                </c:pt>
                <c:pt idx="142">
                  <c:v>44218</c:v>
                </c:pt>
                <c:pt idx="143">
                  <c:v>44219</c:v>
                </c:pt>
                <c:pt idx="144">
                  <c:v>44220</c:v>
                </c:pt>
                <c:pt idx="145">
                  <c:v>44221</c:v>
                </c:pt>
                <c:pt idx="146">
                  <c:v>44222</c:v>
                </c:pt>
                <c:pt idx="147">
                  <c:v>44223</c:v>
                </c:pt>
                <c:pt idx="148">
                  <c:v>44224</c:v>
                </c:pt>
                <c:pt idx="149">
                  <c:v>44225</c:v>
                </c:pt>
                <c:pt idx="150">
                  <c:v>44226</c:v>
                </c:pt>
                <c:pt idx="151">
                  <c:v>44227</c:v>
                </c:pt>
                <c:pt idx="152">
                  <c:v>44228</c:v>
                </c:pt>
                <c:pt idx="153">
                  <c:v>44229</c:v>
                </c:pt>
                <c:pt idx="154">
                  <c:v>44230</c:v>
                </c:pt>
                <c:pt idx="155">
                  <c:v>44231</c:v>
                </c:pt>
                <c:pt idx="156">
                  <c:v>44232</c:v>
                </c:pt>
                <c:pt idx="157">
                  <c:v>44233</c:v>
                </c:pt>
                <c:pt idx="158">
                  <c:v>44234</c:v>
                </c:pt>
                <c:pt idx="159">
                  <c:v>44235</c:v>
                </c:pt>
                <c:pt idx="160">
                  <c:v>44236</c:v>
                </c:pt>
                <c:pt idx="161">
                  <c:v>44237</c:v>
                </c:pt>
                <c:pt idx="162">
                  <c:v>44238</c:v>
                </c:pt>
                <c:pt idx="163">
                  <c:v>44239</c:v>
                </c:pt>
                <c:pt idx="164">
                  <c:v>44240</c:v>
                </c:pt>
                <c:pt idx="165">
                  <c:v>44241</c:v>
                </c:pt>
                <c:pt idx="166">
                  <c:v>44242</c:v>
                </c:pt>
                <c:pt idx="167">
                  <c:v>44243</c:v>
                </c:pt>
                <c:pt idx="168">
                  <c:v>44244</c:v>
                </c:pt>
                <c:pt idx="169">
                  <c:v>44245</c:v>
                </c:pt>
                <c:pt idx="170">
                  <c:v>44246</c:v>
                </c:pt>
                <c:pt idx="171">
                  <c:v>44247</c:v>
                </c:pt>
                <c:pt idx="172">
                  <c:v>44248</c:v>
                </c:pt>
                <c:pt idx="173">
                  <c:v>44249</c:v>
                </c:pt>
                <c:pt idx="174">
                  <c:v>44250</c:v>
                </c:pt>
                <c:pt idx="175">
                  <c:v>44251</c:v>
                </c:pt>
                <c:pt idx="176">
                  <c:v>44252</c:v>
                </c:pt>
                <c:pt idx="177">
                  <c:v>44253</c:v>
                </c:pt>
                <c:pt idx="178">
                  <c:v>44254</c:v>
                </c:pt>
                <c:pt idx="179">
                  <c:v>44255</c:v>
                </c:pt>
                <c:pt idx="180">
                  <c:v>44256</c:v>
                </c:pt>
                <c:pt idx="181">
                  <c:v>44257</c:v>
                </c:pt>
                <c:pt idx="182">
                  <c:v>44258</c:v>
                </c:pt>
                <c:pt idx="183">
                  <c:v>44259</c:v>
                </c:pt>
                <c:pt idx="184">
                  <c:v>44260</c:v>
                </c:pt>
                <c:pt idx="185">
                  <c:v>44261</c:v>
                </c:pt>
                <c:pt idx="186">
                  <c:v>44262</c:v>
                </c:pt>
                <c:pt idx="187">
                  <c:v>44263</c:v>
                </c:pt>
                <c:pt idx="188">
                  <c:v>44264</c:v>
                </c:pt>
                <c:pt idx="189">
                  <c:v>44265</c:v>
                </c:pt>
                <c:pt idx="190">
                  <c:v>44266</c:v>
                </c:pt>
                <c:pt idx="191">
                  <c:v>44267</c:v>
                </c:pt>
                <c:pt idx="192">
                  <c:v>44268</c:v>
                </c:pt>
                <c:pt idx="193">
                  <c:v>44269</c:v>
                </c:pt>
                <c:pt idx="194">
                  <c:v>44270</c:v>
                </c:pt>
                <c:pt idx="195">
                  <c:v>44271</c:v>
                </c:pt>
                <c:pt idx="196">
                  <c:v>44272</c:v>
                </c:pt>
                <c:pt idx="197">
                  <c:v>44273</c:v>
                </c:pt>
                <c:pt idx="198">
                  <c:v>44274</c:v>
                </c:pt>
                <c:pt idx="199">
                  <c:v>44275</c:v>
                </c:pt>
                <c:pt idx="200">
                  <c:v>44276</c:v>
                </c:pt>
                <c:pt idx="201">
                  <c:v>44277</c:v>
                </c:pt>
                <c:pt idx="202">
                  <c:v>44278</c:v>
                </c:pt>
                <c:pt idx="203">
                  <c:v>44279</c:v>
                </c:pt>
                <c:pt idx="204">
                  <c:v>44280</c:v>
                </c:pt>
                <c:pt idx="205">
                  <c:v>44281</c:v>
                </c:pt>
                <c:pt idx="206">
                  <c:v>44282</c:v>
                </c:pt>
                <c:pt idx="207">
                  <c:v>44283</c:v>
                </c:pt>
                <c:pt idx="208">
                  <c:v>44284</c:v>
                </c:pt>
                <c:pt idx="209">
                  <c:v>44285</c:v>
                </c:pt>
                <c:pt idx="210">
                  <c:v>44286</c:v>
                </c:pt>
                <c:pt idx="211">
                  <c:v>44287</c:v>
                </c:pt>
                <c:pt idx="212">
                  <c:v>44288</c:v>
                </c:pt>
                <c:pt idx="213">
                  <c:v>44289</c:v>
                </c:pt>
                <c:pt idx="214">
                  <c:v>44290</c:v>
                </c:pt>
                <c:pt idx="215">
                  <c:v>44291</c:v>
                </c:pt>
                <c:pt idx="216">
                  <c:v>44292</c:v>
                </c:pt>
                <c:pt idx="217">
                  <c:v>44293</c:v>
                </c:pt>
                <c:pt idx="218">
                  <c:v>44294</c:v>
                </c:pt>
                <c:pt idx="219">
                  <c:v>44295</c:v>
                </c:pt>
                <c:pt idx="220">
                  <c:v>44296</c:v>
                </c:pt>
                <c:pt idx="221">
                  <c:v>44297</c:v>
                </c:pt>
                <c:pt idx="222">
                  <c:v>44298</c:v>
                </c:pt>
                <c:pt idx="223">
                  <c:v>44299</c:v>
                </c:pt>
                <c:pt idx="224">
                  <c:v>44300</c:v>
                </c:pt>
                <c:pt idx="225">
                  <c:v>44301</c:v>
                </c:pt>
                <c:pt idx="226">
                  <c:v>44302</c:v>
                </c:pt>
                <c:pt idx="227">
                  <c:v>44303</c:v>
                </c:pt>
                <c:pt idx="228">
                  <c:v>44304</c:v>
                </c:pt>
                <c:pt idx="229">
                  <c:v>44305</c:v>
                </c:pt>
                <c:pt idx="230">
                  <c:v>44306</c:v>
                </c:pt>
                <c:pt idx="231">
                  <c:v>44307</c:v>
                </c:pt>
                <c:pt idx="232">
                  <c:v>44308</c:v>
                </c:pt>
                <c:pt idx="233">
                  <c:v>44309</c:v>
                </c:pt>
                <c:pt idx="234">
                  <c:v>44310</c:v>
                </c:pt>
                <c:pt idx="235">
                  <c:v>44311</c:v>
                </c:pt>
                <c:pt idx="236">
                  <c:v>44312</c:v>
                </c:pt>
                <c:pt idx="237">
                  <c:v>44313</c:v>
                </c:pt>
                <c:pt idx="238">
                  <c:v>44314</c:v>
                </c:pt>
                <c:pt idx="239">
                  <c:v>44315</c:v>
                </c:pt>
                <c:pt idx="240">
                  <c:v>44316</c:v>
                </c:pt>
                <c:pt idx="241">
                  <c:v>44317</c:v>
                </c:pt>
                <c:pt idx="242">
                  <c:v>44318</c:v>
                </c:pt>
                <c:pt idx="243">
                  <c:v>44319</c:v>
                </c:pt>
                <c:pt idx="244">
                  <c:v>44320</c:v>
                </c:pt>
                <c:pt idx="245">
                  <c:v>44321</c:v>
                </c:pt>
                <c:pt idx="246">
                  <c:v>44322</c:v>
                </c:pt>
                <c:pt idx="247">
                  <c:v>44323</c:v>
                </c:pt>
                <c:pt idx="248">
                  <c:v>44324</c:v>
                </c:pt>
                <c:pt idx="249">
                  <c:v>44325</c:v>
                </c:pt>
                <c:pt idx="250">
                  <c:v>44326</c:v>
                </c:pt>
                <c:pt idx="251">
                  <c:v>44327</c:v>
                </c:pt>
                <c:pt idx="252">
                  <c:v>44328</c:v>
                </c:pt>
                <c:pt idx="253">
                  <c:v>44329</c:v>
                </c:pt>
                <c:pt idx="254">
                  <c:v>44330</c:v>
                </c:pt>
                <c:pt idx="255">
                  <c:v>44331</c:v>
                </c:pt>
                <c:pt idx="256">
                  <c:v>44332</c:v>
                </c:pt>
                <c:pt idx="257">
                  <c:v>44333</c:v>
                </c:pt>
                <c:pt idx="258">
                  <c:v>44334</c:v>
                </c:pt>
                <c:pt idx="259">
                  <c:v>44335</c:v>
                </c:pt>
                <c:pt idx="260">
                  <c:v>44336</c:v>
                </c:pt>
                <c:pt idx="261">
                  <c:v>44337</c:v>
                </c:pt>
                <c:pt idx="262">
                  <c:v>44338</c:v>
                </c:pt>
                <c:pt idx="263">
                  <c:v>44339</c:v>
                </c:pt>
                <c:pt idx="264">
                  <c:v>44340</c:v>
                </c:pt>
                <c:pt idx="265">
                  <c:v>44341</c:v>
                </c:pt>
                <c:pt idx="266">
                  <c:v>44342</c:v>
                </c:pt>
                <c:pt idx="267">
                  <c:v>44343</c:v>
                </c:pt>
                <c:pt idx="268">
                  <c:v>44344</c:v>
                </c:pt>
                <c:pt idx="269">
                  <c:v>44345</c:v>
                </c:pt>
                <c:pt idx="270">
                  <c:v>44346</c:v>
                </c:pt>
                <c:pt idx="271">
                  <c:v>44347</c:v>
                </c:pt>
                <c:pt idx="272">
                  <c:v>44348</c:v>
                </c:pt>
                <c:pt idx="273">
                  <c:v>44349</c:v>
                </c:pt>
              </c:numCache>
            </c:numRef>
          </c:cat>
          <c:val>
            <c:numRef>
              <c:f>Sheet1!$B$2:$B$494</c:f>
              <c:numCache>
                <c:formatCode>General</c:formatCode>
                <c:ptCount val="493"/>
                <c:pt idx="0">
                  <c:v>1.9988895058300944E-2</c:v>
                </c:pt>
                <c:pt idx="1">
                  <c:v>2.4939662107803701E-2</c:v>
                </c:pt>
                <c:pt idx="2">
                  <c:v>2.5184275184275184E-2</c:v>
                </c:pt>
                <c:pt idx="3">
                  <c:v>2.1935483870967741E-2</c:v>
                </c:pt>
                <c:pt idx="4">
                  <c:v>4.9382716049382713E-2</c:v>
                </c:pt>
                <c:pt idx="5">
                  <c:v>2.3636363636363636E-2</c:v>
                </c:pt>
                <c:pt idx="6">
                  <c:v>2.8092656481025137E-2</c:v>
                </c:pt>
                <c:pt idx="7">
                  <c:v>2.8515878159429683E-2</c:v>
                </c:pt>
                <c:pt idx="8">
                  <c:v>5.4703135423615747E-2</c:v>
                </c:pt>
                <c:pt idx="9">
                  <c:v>4.9760191846522785E-2</c:v>
                </c:pt>
                <c:pt idx="10">
                  <c:v>6.2545989698307575E-2</c:v>
                </c:pt>
                <c:pt idx="11">
                  <c:v>6.5146579804560262E-2</c:v>
                </c:pt>
                <c:pt idx="12">
                  <c:v>3.4263338228095935E-2</c:v>
                </c:pt>
                <c:pt idx="13">
                  <c:v>3.9261876717707103E-2</c:v>
                </c:pt>
                <c:pt idx="14">
                  <c:v>4.3188064389477816E-2</c:v>
                </c:pt>
                <c:pt idx="15">
                  <c:v>7.2275334608030595E-2</c:v>
                </c:pt>
                <c:pt idx="16">
                  <c:v>4.49438202247191E-2</c:v>
                </c:pt>
                <c:pt idx="17">
                  <c:v>0.12101910828025478</c:v>
                </c:pt>
                <c:pt idx="18">
                  <c:v>7.4663402692778463E-2</c:v>
                </c:pt>
                <c:pt idx="19">
                  <c:v>3.6231884057971016E-2</c:v>
                </c:pt>
                <c:pt idx="20">
                  <c:v>3.5154757355750861E-2</c:v>
                </c:pt>
                <c:pt idx="21">
                  <c:v>3.9641502930024129E-2</c:v>
                </c:pt>
                <c:pt idx="22">
                  <c:v>9.3664850136239777E-2</c:v>
                </c:pt>
                <c:pt idx="23">
                  <c:v>6.6854108091221498E-2</c:v>
                </c:pt>
                <c:pt idx="24">
                  <c:v>6.4836448598130841E-2</c:v>
                </c:pt>
                <c:pt idx="25">
                  <c:v>7.1787508973438621E-2</c:v>
                </c:pt>
                <c:pt idx="26">
                  <c:v>4.752760441670667E-2</c:v>
                </c:pt>
                <c:pt idx="27">
                  <c:v>3.8918205804749341E-2</c:v>
                </c:pt>
                <c:pt idx="28">
                  <c:v>9.5868302130406716E-2</c:v>
                </c:pt>
                <c:pt idx="29">
                  <c:v>6.6903331512834521E-2</c:v>
                </c:pt>
                <c:pt idx="30">
                  <c:v>8.583308583308584E-2</c:v>
                </c:pt>
                <c:pt idx="31">
                  <c:v>9.4909862142099677E-2</c:v>
                </c:pt>
                <c:pt idx="32">
                  <c:v>0.10282485875706214</c:v>
                </c:pt>
                <c:pt idx="33">
                  <c:v>6.0787401574803147E-2</c:v>
                </c:pt>
                <c:pt idx="34">
                  <c:v>0.12132701421800948</c:v>
                </c:pt>
                <c:pt idx="35">
                  <c:v>0.10240240240240241</c:v>
                </c:pt>
                <c:pt idx="36">
                  <c:v>6.9767441860465115E-2</c:v>
                </c:pt>
                <c:pt idx="37">
                  <c:v>0.16470250071859729</c:v>
                </c:pt>
                <c:pt idx="38">
                  <c:v>0.12579415501905972</c:v>
                </c:pt>
                <c:pt idx="39">
                  <c:v>0.21386800334168754</c:v>
                </c:pt>
                <c:pt idx="40">
                  <c:v>7.7969946129855403E-2</c:v>
                </c:pt>
                <c:pt idx="41">
                  <c:v>0.17075428042572882</c:v>
                </c:pt>
                <c:pt idx="42">
                  <c:v>0.13530742340119267</c:v>
                </c:pt>
                <c:pt idx="43">
                  <c:v>0.15110153256704981</c:v>
                </c:pt>
                <c:pt idx="44">
                  <c:v>0.17194183062446536</c:v>
                </c:pt>
                <c:pt idx="45">
                  <c:v>0.18201154664235794</c:v>
                </c:pt>
                <c:pt idx="46">
                  <c:v>0.18310571573090542</c:v>
                </c:pt>
                <c:pt idx="47">
                  <c:v>0.12238968585436717</c:v>
                </c:pt>
                <c:pt idx="48">
                  <c:v>0.18496267977425815</c:v>
                </c:pt>
                <c:pt idx="49">
                  <c:v>0.21045122168717675</c:v>
                </c:pt>
                <c:pt idx="50">
                  <c:v>0.14025471546026116</c:v>
                </c:pt>
                <c:pt idx="51">
                  <c:v>0.26187824795842612</c:v>
                </c:pt>
                <c:pt idx="52">
                  <c:v>0.16201641266119579</c:v>
                </c:pt>
                <c:pt idx="53">
                  <c:v>0.1825780906291245</c:v>
                </c:pt>
                <c:pt idx="54">
                  <c:v>0.164376130198915</c:v>
                </c:pt>
                <c:pt idx="55">
                  <c:v>0.22959719789842381</c:v>
                </c:pt>
                <c:pt idx="56">
                  <c:v>0.16710499696540562</c:v>
                </c:pt>
                <c:pt idx="57">
                  <c:v>0.19855159927579963</c:v>
                </c:pt>
                <c:pt idx="58">
                  <c:v>0.15865475964278927</c:v>
                </c:pt>
                <c:pt idx="59">
                  <c:v>0.17466307277628032</c:v>
                </c:pt>
                <c:pt idx="60">
                  <c:v>0.18127911901736551</c:v>
                </c:pt>
                <c:pt idx="61">
                  <c:v>9.9117702271447339E-2</c:v>
                </c:pt>
                <c:pt idx="62">
                  <c:v>0.13121377129808537</c:v>
                </c:pt>
                <c:pt idx="63">
                  <c:v>0.22095084609186141</c:v>
                </c:pt>
                <c:pt idx="64">
                  <c:v>0.13759007876654936</c:v>
                </c:pt>
                <c:pt idx="65">
                  <c:v>0.13466803559206023</c:v>
                </c:pt>
                <c:pt idx="66">
                  <c:v>0.14141713608064038</c:v>
                </c:pt>
                <c:pt idx="67">
                  <c:v>0.14182257091128544</c:v>
                </c:pt>
                <c:pt idx="68">
                  <c:v>7.2635135135135129E-2</c:v>
                </c:pt>
                <c:pt idx="69">
                  <c:v>5.3288615613937024E-2</c:v>
                </c:pt>
                <c:pt idx="70">
                  <c:v>3.9008112306541623E-2</c:v>
                </c:pt>
                <c:pt idx="71">
                  <c:v>3.8871509674429386E-2</c:v>
                </c:pt>
                <c:pt idx="72">
                  <c:v>3.4792434875698823E-2</c:v>
                </c:pt>
                <c:pt idx="73">
                  <c:v>9.2713431212615549E-2</c:v>
                </c:pt>
                <c:pt idx="74">
                  <c:v>3.9622206864777701E-2</c:v>
                </c:pt>
                <c:pt idx="75">
                  <c:v>2.5828854112162868E-2</c:v>
                </c:pt>
                <c:pt idx="76">
                  <c:v>5.5547762659559546E-2</c:v>
                </c:pt>
                <c:pt idx="77">
                  <c:v>2.2162444292769101E-2</c:v>
                </c:pt>
                <c:pt idx="78">
                  <c:v>4.9468131107843982E-2</c:v>
                </c:pt>
                <c:pt idx="79">
                  <c:v>4.4134126368416515E-2</c:v>
                </c:pt>
                <c:pt idx="80">
                  <c:v>2.6111164442737832E-2</c:v>
                </c:pt>
                <c:pt idx="81">
                  <c:v>2.6473526473526472E-2</c:v>
                </c:pt>
                <c:pt idx="82">
                  <c:v>9.8459621972546291E-3</c:v>
                </c:pt>
                <c:pt idx="83">
                  <c:v>3.1580754047714397E-2</c:v>
                </c:pt>
                <c:pt idx="84">
                  <c:v>3.042572882924572E-2</c:v>
                </c:pt>
                <c:pt idx="85">
                  <c:v>2.4328467639805371E-2</c:v>
                </c:pt>
                <c:pt idx="86">
                  <c:v>2.6095299008634474E-2</c:v>
                </c:pt>
                <c:pt idx="87">
                  <c:v>2.3996033713435796E-2</c:v>
                </c:pt>
                <c:pt idx="88">
                  <c:v>2.4487094639311716E-2</c:v>
                </c:pt>
                <c:pt idx="89">
                  <c:v>1.0300512596263635E-2</c:v>
                </c:pt>
                <c:pt idx="90">
                  <c:v>2.1423879541205598E-2</c:v>
                </c:pt>
                <c:pt idx="91">
                  <c:v>2.0668727814038702E-2</c:v>
                </c:pt>
                <c:pt idx="92">
                  <c:v>2.3442918574004715E-2</c:v>
                </c:pt>
                <c:pt idx="93">
                  <c:v>3.1067312510439284E-2</c:v>
                </c:pt>
                <c:pt idx="94">
                  <c:v>4.6244983756927191E-2</c:v>
                </c:pt>
                <c:pt idx="95">
                  <c:v>2.7417746759720838E-2</c:v>
                </c:pt>
                <c:pt idx="96">
                  <c:v>1.4463686504416245E-2</c:v>
                </c:pt>
                <c:pt idx="97">
                  <c:v>3.4903398674375967E-2</c:v>
                </c:pt>
                <c:pt idx="98">
                  <c:v>3.3382387111765159E-2</c:v>
                </c:pt>
                <c:pt idx="99">
                  <c:v>3.4910783553141971E-2</c:v>
                </c:pt>
                <c:pt idx="100">
                  <c:v>3.1359149582384206E-2</c:v>
                </c:pt>
                <c:pt idx="101">
                  <c:v>3.8245033112582781E-2</c:v>
                </c:pt>
                <c:pt idx="102">
                  <c:v>3.5538667858739381E-2</c:v>
                </c:pt>
                <c:pt idx="103">
                  <c:v>1.9680536383356342E-2</c:v>
                </c:pt>
                <c:pt idx="104">
                  <c:v>3.7073685599313941E-2</c:v>
                </c:pt>
                <c:pt idx="105">
                  <c:v>3.25052240538658E-2</c:v>
                </c:pt>
                <c:pt idx="106">
                  <c:v>3.549942823049769E-2</c:v>
                </c:pt>
                <c:pt idx="107">
                  <c:v>3.1271099108062972E-2</c:v>
                </c:pt>
                <c:pt idx="108">
                  <c:v>4.9389416553595661E-2</c:v>
                </c:pt>
                <c:pt idx="109">
                  <c:v>5.1738342395781844E-2</c:v>
                </c:pt>
                <c:pt idx="110">
                  <c:v>2.6979963409526748E-2</c:v>
                </c:pt>
                <c:pt idx="111">
                  <c:v>3.5779792813040896E-2</c:v>
                </c:pt>
                <c:pt idx="112">
                  <c:v>4.1079612968935662E-2</c:v>
                </c:pt>
                <c:pt idx="113">
                  <c:v>7.5798338987016031E-2</c:v>
                </c:pt>
                <c:pt idx="114">
                  <c:v>6.6209317166560311E-2</c:v>
                </c:pt>
                <c:pt idx="115">
                  <c:v>4.9409958745082992E-2</c:v>
                </c:pt>
                <c:pt idx="116">
                  <c:v>6.5292722961882182E-2</c:v>
                </c:pt>
                <c:pt idx="117">
                  <c:v>4.0402044797866299E-2</c:v>
                </c:pt>
                <c:pt idx="118">
                  <c:v>6.7823679727427602E-2</c:v>
                </c:pt>
                <c:pt idx="119">
                  <c:v>7.4618966977138018E-2</c:v>
                </c:pt>
                <c:pt idx="120">
                  <c:v>9.4911992755673774E-2</c:v>
                </c:pt>
                <c:pt idx="121">
                  <c:v>0.11031347212251735</c:v>
                </c:pt>
                <c:pt idx="122">
                  <c:v>7.3361478302996747E-2</c:v>
                </c:pt>
                <c:pt idx="123">
                  <c:v>0.10097719869706841</c:v>
                </c:pt>
                <c:pt idx="124">
                  <c:v>4.2181276903890251E-2</c:v>
                </c:pt>
                <c:pt idx="125">
                  <c:v>7.5044247787610624E-2</c:v>
                </c:pt>
                <c:pt idx="126">
                  <c:v>7.7231660096975616E-2</c:v>
                </c:pt>
                <c:pt idx="127">
                  <c:v>6.2654545454545449E-2</c:v>
                </c:pt>
                <c:pt idx="128">
                  <c:v>4.8210547987509865E-2</c:v>
                </c:pt>
                <c:pt idx="129">
                  <c:v>7.0800257455481658E-2</c:v>
                </c:pt>
                <c:pt idx="130">
                  <c:v>7.2588832487309643E-2</c:v>
                </c:pt>
                <c:pt idx="131">
                  <c:v>3.2170326607958981E-2</c:v>
                </c:pt>
                <c:pt idx="132">
                  <c:v>4.5955624210082854E-2</c:v>
                </c:pt>
                <c:pt idx="133">
                  <c:v>4.7620874904067537E-2</c:v>
                </c:pt>
                <c:pt idx="134">
                  <c:v>3.9962097804144524E-2</c:v>
                </c:pt>
                <c:pt idx="135">
                  <c:v>3.7603782717152534E-2</c:v>
                </c:pt>
                <c:pt idx="136">
                  <c:v>6.5039023414048436E-2</c:v>
                </c:pt>
                <c:pt idx="137">
                  <c:v>4.801032985092147E-2</c:v>
                </c:pt>
                <c:pt idx="138">
                  <c:v>2.668131523189202E-2</c:v>
                </c:pt>
                <c:pt idx="139">
                  <c:v>4.3819008443386015E-2</c:v>
                </c:pt>
                <c:pt idx="140">
                  <c:v>4.2286462718682756E-2</c:v>
                </c:pt>
                <c:pt idx="141">
                  <c:v>4.1765942536790467E-2</c:v>
                </c:pt>
                <c:pt idx="142">
                  <c:v>3.3964095099466275E-2</c:v>
                </c:pt>
                <c:pt idx="143">
                  <c:v>4.894345610957989E-2</c:v>
                </c:pt>
                <c:pt idx="144">
                  <c:v>4.9898709883782921E-2</c:v>
                </c:pt>
                <c:pt idx="145">
                  <c:v>2.6727050872911582E-2</c:v>
                </c:pt>
                <c:pt idx="146">
                  <c:v>3.9474185559154128E-2</c:v>
                </c:pt>
                <c:pt idx="147">
                  <c:v>3.7819016927806794E-2</c:v>
                </c:pt>
                <c:pt idx="148">
                  <c:v>3.1064465469031296E-2</c:v>
                </c:pt>
                <c:pt idx="149">
                  <c:v>2.689921180613785E-2</c:v>
                </c:pt>
                <c:pt idx="150">
                  <c:v>3.5588309397833209E-2</c:v>
                </c:pt>
                <c:pt idx="151">
                  <c:v>3.9961941008563276E-2</c:v>
                </c:pt>
                <c:pt idx="152">
                  <c:v>2.1969789009030901E-2</c:v>
                </c:pt>
                <c:pt idx="153">
                  <c:v>3.8890304497388201E-2</c:v>
                </c:pt>
                <c:pt idx="154">
                  <c:v>3.7619567310778715E-2</c:v>
                </c:pt>
                <c:pt idx="155">
                  <c:v>3.2648896824384648E-2</c:v>
                </c:pt>
                <c:pt idx="156">
                  <c:v>2.9446442256676295E-2</c:v>
                </c:pt>
                <c:pt idx="157">
                  <c:v>3.7788533134772893E-2</c:v>
                </c:pt>
                <c:pt idx="158">
                  <c:v>3.7020109689213897E-2</c:v>
                </c:pt>
                <c:pt idx="159">
                  <c:v>2.6043777867855694E-2</c:v>
                </c:pt>
                <c:pt idx="160">
                  <c:v>3.5609441052137154E-2</c:v>
                </c:pt>
                <c:pt idx="161">
                  <c:v>3.6547409941142028E-2</c:v>
                </c:pt>
                <c:pt idx="162">
                  <c:v>3.6437618552285382E-2</c:v>
                </c:pt>
                <c:pt idx="163">
                  <c:v>2.4787253784364149E-2</c:v>
                </c:pt>
                <c:pt idx="164">
                  <c:v>3.9417537870706211E-2</c:v>
                </c:pt>
                <c:pt idx="165">
                  <c:v>3.1350900947817936E-2</c:v>
                </c:pt>
                <c:pt idx="166">
                  <c:v>2.4893501393685465E-2</c:v>
                </c:pt>
                <c:pt idx="167">
                  <c:v>3.8834008883279529E-2</c:v>
                </c:pt>
                <c:pt idx="168">
                  <c:v>3.6260068756116537E-2</c:v>
                </c:pt>
                <c:pt idx="169">
                  <c:v>3.3689142194744975E-2</c:v>
                </c:pt>
                <c:pt idx="170">
                  <c:v>2.7181275121582908E-2</c:v>
                </c:pt>
                <c:pt idx="171">
                  <c:v>4.5862412761714856E-2</c:v>
                </c:pt>
                <c:pt idx="172">
                  <c:v>3.4127821134781688E-2</c:v>
                </c:pt>
                <c:pt idx="173">
                  <c:v>2.6027970356203682E-2</c:v>
                </c:pt>
                <c:pt idx="174">
                  <c:v>3.8138958297015128E-2</c:v>
                </c:pt>
                <c:pt idx="175">
                  <c:v>3.1668299053215804E-2</c:v>
                </c:pt>
                <c:pt idx="176">
                  <c:v>3.3914379469281691E-2</c:v>
                </c:pt>
                <c:pt idx="177">
                  <c:v>2.6874320898225279E-2</c:v>
                </c:pt>
                <c:pt idx="178">
                  <c:v>3.6047908833675722E-2</c:v>
                </c:pt>
                <c:pt idx="179">
                  <c:v>3.2016553799849509E-2</c:v>
                </c:pt>
                <c:pt idx="180">
                  <c:v>2.1873461349089119E-2</c:v>
                </c:pt>
                <c:pt idx="181">
                  <c:v>3.0853606225871685E-2</c:v>
                </c:pt>
                <c:pt idx="182">
                  <c:v>2.6776655344302791E-2</c:v>
                </c:pt>
                <c:pt idx="183">
                  <c:v>2.1028008311662457E-2</c:v>
                </c:pt>
                <c:pt idx="184">
                  <c:v>1.8402834432763804E-2</c:v>
                </c:pt>
                <c:pt idx="185">
                  <c:v>3.6154306220095696E-2</c:v>
                </c:pt>
                <c:pt idx="186">
                  <c:v>2.2219556808300098E-2</c:v>
                </c:pt>
                <c:pt idx="187">
                  <c:v>9.0699940991997453E-3</c:v>
                </c:pt>
                <c:pt idx="188">
                  <c:v>1.0995820533442325E-2</c:v>
                </c:pt>
                <c:pt idx="189">
                  <c:v>1.0434126181915887E-2</c:v>
                </c:pt>
                <c:pt idx="190">
                  <c:v>7.9723295936645604E-3</c:v>
                </c:pt>
                <c:pt idx="191">
                  <c:v>1.48898696960979E-2</c:v>
                </c:pt>
                <c:pt idx="192">
                  <c:v>2.3240531837995314E-2</c:v>
                </c:pt>
                <c:pt idx="193">
                  <c:v>1.4113452867778127E-2</c:v>
                </c:pt>
                <c:pt idx="194">
                  <c:v>7.1291162159103768E-3</c:v>
                </c:pt>
                <c:pt idx="195">
                  <c:v>9.2637765347916359E-3</c:v>
                </c:pt>
                <c:pt idx="196">
                  <c:v>8.4034594241295998E-3</c:v>
                </c:pt>
                <c:pt idx="197">
                  <c:v>8.068772209647343E-3</c:v>
                </c:pt>
                <c:pt idx="198">
                  <c:v>8.9375584474918439E-3</c:v>
                </c:pt>
                <c:pt idx="199">
                  <c:v>1.6209503958134686E-2</c:v>
                </c:pt>
                <c:pt idx="200">
                  <c:v>1.028186859979644E-2</c:v>
                </c:pt>
                <c:pt idx="201">
                  <c:v>4.113837453251847E-3</c:v>
                </c:pt>
                <c:pt idx="202">
                  <c:v>6.2918559693150239E-3</c:v>
                </c:pt>
                <c:pt idx="203">
                  <c:v>6.4176572298919729E-3</c:v>
                </c:pt>
                <c:pt idx="204">
                  <c:v>5.6472608583176005E-3</c:v>
                </c:pt>
                <c:pt idx="205">
                  <c:v>6.857810918319337E-3</c:v>
                </c:pt>
                <c:pt idx="206">
                  <c:v>1.4847490451342192E-2</c:v>
                </c:pt>
                <c:pt idx="207">
                  <c:v>8.8134404967575557E-3</c:v>
                </c:pt>
                <c:pt idx="208">
                  <c:v>3.5551476737154938E-3</c:v>
                </c:pt>
                <c:pt idx="209">
                  <c:v>5.2154928438586561E-3</c:v>
                </c:pt>
                <c:pt idx="210">
                  <c:v>4.823924127546033E-3</c:v>
                </c:pt>
                <c:pt idx="211">
                  <c:v>4.0962285639297548E-3</c:v>
                </c:pt>
                <c:pt idx="212">
                  <c:v>1.2760055478502081E-2</c:v>
                </c:pt>
                <c:pt idx="213">
                  <c:v>9.0196434516783188E-3</c:v>
                </c:pt>
                <c:pt idx="214">
                  <c:v>1.1566265060240964E-2</c:v>
                </c:pt>
                <c:pt idx="215">
                  <c:v>5.810055865921788E-3</c:v>
                </c:pt>
                <c:pt idx="216">
                  <c:v>2.1355715447507776E-3</c:v>
                </c:pt>
                <c:pt idx="217">
                  <c:v>3.7614185921547557E-3</c:v>
                </c:pt>
                <c:pt idx="218">
                  <c:v>3.7753705932578258E-3</c:v>
                </c:pt>
                <c:pt idx="219">
                  <c:v>4.5562383464047068E-3</c:v>
                </c:pt>
                <c:pt idx="220">
                  <c:v>7.9646017699115043E-3</c:v>
                </c:pt>
                <c:pt idx="221">
                  <c:v>4.2302216798861094E-3</c:v>
                </c:pt>
                <c:pt idx="222">
                  <c:v>1.7559838843348185E-3</c:v>
                </c:pt>
                <c:pt idx="223">
                  <c:v>2.273642875996166E-3</c:v>
                </c:pt>
                <c:pt idx="224">
                  <c:v>2.2712373597898075E-3</c:v>
                </c:pt>
                <c:pt idx="225">
                  <c:v>2.3219855086995299E-3</c:v>
                </c:pt>
                <c:pt idx="226">
                  <c:v>2.9443571749958558E-3</c:v>
                </c:pt>
                <c:pt idx="227">
                  <c:v>5.6398794053435907E-3</c:v>
                </c:pt>
                <c:pt idx="228">
                  <c:v>3.0075462068462687E-3</c:v>
                </c:pt>
                <c:pt idx="229">
                  <c:v>1.6832066513153873E-3</c:v>
                </c:pt>
                <c:pt idx="230">
                  <c:v>2.3022989760703317E-3</c:v>
                </c:pt>
                <c:pt idx="231">
                  <c:v>1.9754768392370573E-3</c:v>
                </c:pt>
                <c:pt idx="232">
                  <c:v>1.6492009905545761E-3</c:v>
                </c:pt>
                <c:pt idx="233">
                  <c:v>2.2467490222481106E-3</c:v>
                </c:pt>
                <c:pt idx="234">
                  <c:v>4.1480238627889634E-3</c:v>
                </c:pt>
                <c:pt idx="235">
                  <c:v>2.5573419503201631E-3</c:v>
                </c:pt>
                <c:pt idx="236">
                  <c:v>1.2701913455451408E-3</c:v>
                </c:pt>
                <c:pt idx="237">
                  <c:v>1.6646914787163891E-3</c:v>
                </c:pt>
                <c:pt idx="238">
                  <c:v>1.4118411831025972E-3</c:v>
                </c:pt>
                <c:pt idx="239">
                  <c:v>1.4473860307420826E-3</c:v>
                </c:pt>
                <c:pt idx="240">
                  <c:v>1.9254383096831383E-3</c:v>
                </c:pt>
                <c:pt idx="241">
                  <c:v>4.2558222012058161E-3</c:v>
                </c:pt>
                <c:pt idx="242">
                  <c:v>1.4608971814211989E-3</c:v>
                </c:pt>
                <c:pt idx="243">
                  <c:v>7.8910684923887684E-4</c:v>
                </c:pt>
                <c:pt idx="244">
                  <c:v>1.1504484229619429E-3</c:v>
                </c:pt>
                <c:pt idx="245">
                  <c:v>1.0894339243990195E-3</c:v>
                </c:pt>
                <c:pt idx="246">
                  <c:v>9.018430217497674E-4</c:v>
                </c:pt>
                <c:pt idx="247">
                  <c:v>1.2243973558679067E-3</c:v>
                </c:pt>
                <c:pt idx="248">
                  <c:v>2.3438110367457487E-3</c:v>
                </c:pt>
                <c:pt idx="249">
                  <c:v>9.6987041895222194E-4</c:v>
                </c:pt>
                <c:pt idx="250">
                  <c:v>6.3546434773152822E-4</c:v>
                </c:pt>
                <c:pt idx="251">
                  <c:v>9.8954098205488936E-4</c:v>
                </c:pt>
                <c:pt idx="252">
                  <c:v>9.0564273854678429E-4</c:v>
                </c:pt>
                <c:pt idx="253">
                  <c:v>9.0374631087931695E-4</c:v>
                </c:pt>
                <c:pt idx="254">
                  <c:v>9.3550594116086517E-4</c:v>
                </c:pt>
                <c:pt idx="255">
                  <c:v>1.6784558206450065E-3</c:v>
                </c:pt>
                <c:pt idx="256">
                  <c:v>8.1205742870135776E-4</c:v>
                </c:pt>
                <c:pt idx="257">
                  <c:v>4.7560516124250306E-4</c:v>
                </c:pt>
                <c:pt idx="258">
                  <c:v>6.1377934632499619E-4</c:v>
                </c:pt>
                <c:pt idx="259">
                  <c:v>4.5902524638855138E-4</c:v>
                </c:pt>
                <c:pt idx="260">
                  <c:v>3.5600170529211919E-4</c:v>
                </c:pt>
                <c:pt idx="261">
                  <c:v>5.198976379317317E-4</c:v>
                </c:pt>
                <c:pt idx="262">
                  <c:v>1.2505968757816231E-3</c:v>
                </c:pt>
                <c:pt idx="263">
                  <c:v>5.6577086280056575E-4</c:v>
                </c:pt>
                <c:pt idx="264">
                  <c:v>2.4788181545887402E-4</c:v>
                </c:pt>
                <c:pt idx="265">
                  <c:v>4.4967900573101541E-4</c:v>
                </c:pt>
                <c:pt idx="266">
                  <c:v>3.7114865049259069E-4</c:v>
                </c:pt>
                <c:pt idx="267">
                  <c:v>3.7877373337530075E-4</c:v>
                </c:pt>
                <c:pt idx="268">
                  <c:v>3.6397197415798983E-4</c:v>
                </c:pt>
                <c:pt idx="269">
                  <c:v>6.2608695652173918E-4</c:v>
                </c:pt>
                <c:pt idx="270">
                  <c:v>3.9589774526807933E-4</c:v>
                </c:pt>
                <c:pt idx="271">
                  <c:v>2.6598806626675824E-4</c:v>
                </c:pt>
                <c:pt idx="272">
                  <c:v>3.5053456521194821E-4</c:v>
                </c:pt>
                <c:pt idx="273">
                  <c:v>4.432987998095457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C4-4F8B-BFF0-E6161AC7A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59336"/>
        <c:crosses val="autoZero"/>
        <c:auto val="1"/>
        <c:lblOffset val="100"/>
        <c:baseTimeUnit val="days"/>
        <c:majorUnit val="3"/>
      </c:dateAx>
      <c:valAx>
        <c:axId val="414859336"/>
        <c:scaling>
          <c:orientation val="minMax"/>
          <c:max val="0.4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4862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5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155:$H$280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6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155:$I$280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155:$B$280</c:f>
              <c:numCache>
                <c:formatCode>General</c:formatCode>
                <c:ptCount val="126"/>
                <c:pt idx="0">
                  <c:v>445.17740376113989</c:v>
                </c:pt>
                <c:pt idx="1">
                  <c:v>444.73790246980087</c:v>
                </c:pt>
                <c:pt idx="2">
                  <c:v>455.61322165761374</c:v>
                </c:pt>
                <c:pt idx="3">
                  <c:v>456.52027751420684</c:v>
                </c:pt>
                <c:pt idx="4">
                  <c:v>461.84104846679975</c:v>
                </c:pt>
                <c:pt idx="5">
                  <c:v>468.99463331518911</c:v>
                </c:pt>
                <c:pt idx="6">
                  <c:v>467.85380017596884</c:v>
                </c:pt>
                <c:pt idx="7">
                  <c:v>473.09041130681589</c:v>
                </c:pt>
                <c:pt idx="8">
                  <c:v>483.70389993808647</c:v>
                </c:pt>
                <c:pt idx="9">
                  <c:v>482.49760915973059</c:v>
                </c:pt>
                <c:pt idx="10">
                  <c:v>491.01645333866219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64117085388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670096771639</c:v>
                </c:pt>
                <c:pt idx="19">
                  <c:v>608.74669286967128</c:v>
                </c:pt>
                <c:pt idx="20">
                  <c:v>619.85578934011119</c:v>
                </c:pt>
                <c:pt idx="21">
                  <c:v>643.26157087673676</c:v>
                </c:pt>
                <c:pt idx="22">
                  <c:v>673.48429797476865</c:v>
                </c:pt>
                <c:pt idx="23">
                  <c:v>700.20036583339402</c:v>
                </c:pt>
                <c:pt idx="24">
                  <c:v>727.16891315725661</c:v>
                </c:pt>
                <c:pt idx="25">
                  <c:v>759.78551962939014</c:v>
                </c:pt>
                <c:pt idx="26">
                  <c:v>769.5948144084233</c:v>
                </c:pt>
                <c:pt idx="27">
                  <c:v>774.44803079576207</c:v>
                </c:pt>
                <c:pt idx="28">
                  <c:v>783.02298152252411</c:v>
                </c:pt>
                <c:pt idx="29">
                  <c:v>791.78495407538787</c:v>
                </c:pt>
                <c:pt idx="30">
                  <c:v>805.25987664601416</c:v>
                </c:pt>
                <c:pt idx="31">
                  <c:v>805.82094212431912</c:v>
                </c:pt>
                <c:pt idx="32">
                  <c:v>790.79373839704897</c:v>
                </c:pt>
                <c:pt idx="33">
                  <c:v>803.00626364148889</c:v>
                </c:pt>
                <c:pt idx="34">
                  <c:v>797.34885340191306</c:v>
                </c:pt>
                <c:pt idx="35">
                  <c:v>781.71382873981236</c:v>
                </c:pt>
                <c:pt idx="36">
                  <c:v>768.44463017789792</c:v>
                </c:pt>
                <c:pt idx="37">
                  <c:v>761.88016408172882</c:v>
                </c:pt>
                <c:pt idx="38">
                  <c:v>730.05840037052758</c:v>
                </c:pt>
                <c:pt idx="39">
                  <c:v>746.8062048979333</c:v>
                </c:pt>
                <c:pt idx="40">
                  <c:v>726.47693240068043</c:v>
                </c:pt>
                <c:pt idx="41">
                  <c:v>720.39872305237577</c:v>
                </c:pt>
                <c:pt idx="42">
                  <c:v>720.17429686105368</c:v>
                </c:pt>
                <c:pt idx="43">
                  <c:v>707.73734542529189</c:v>
                </c:pt>
                <c:pt idx="44">
                  <c:v>684.28480843214084</c:v>
                </c:pt>
                <c:pt idx="45">
                  <c:v>678.81442001866662</c:v>
                </c:pt>
                <c:pt idx="46">
                  <c:v>629.72119066697496</c:v>
                </c:pt>
                <c:pt idx="47">
                  <c:v>615.78806462239959</c:v>
                </c:pt>
                <c:pt idx="48">
                  <c:v>606.97933661301045</c:v>
                </c:pt>
                <c:pt idx="49">
                  <c:v>584.6395794851644</c:v>
                </c:pt>
                <c:pt idx="50">
                  <c:v>556.02524009160697</c:v>
                </c:pt>
                <c:pt idx="51">
                  <c:v>526.28876974143952</c:v>
                </c:pt>
                <c:pt idx="52">
                  <c:v>500.71353502203442</c:v>
                </c:pt>
                <c:pt idx="53">
                  <c:v>482.01135241186614</c:v>
                </c:pt>
                <c:pt idx="54">
                  <c:v>468.01276872815527</c:v>
                </c:pt>
                <c:pt idx="55">
                  <c:v>461.96261265376586</c:v>
                </c:pt>
                <c:pt idx="56">
                  <c:v>449.75943850063106</c:v>
                </c:pt>
                <c:pt idx="57">
                  <c:v>427.8965870293444</c:v>
                </c:pt>
                <c:pt idx="58">
                  <c:v>413.07510731078605</c:v>
                </c:pt>
                <c:pt idx="59">
                  <c:v>397.11161987397003</c:v>
                </c:pt>
                <c:pt idx="60">
                  <c:v>360.90267999417199</c:v>
                </c:pt>
                <c:pt idx="61">
                  <c:v>343.99894522189999</c:v>
                </c:pt>
                <c:pt idx="62">
                  <c:v>345.690253123383</c:v>
                </c:pt>
                <c:pt idx="63">
                  <c:v>294.14741121965</c:v>
                </c:pt>
                <c:pt idx="64">
                  <c:v>265.67550417094202</c:v>
                </c:pt>
                <c:pt idx="65">
                  <c:v>263.70386899297102</c:v>
                </c:pt>
                <c:pt idx="66">
                  <c:v>254.69601917513299</c:v>
                </c:pt>
                <c:pt idx="67">
                  <c:v>263.87206535886497</c:v>
                </c:pt>
                <c:pt idx="68">
                  <c:v>264.28321203104798</c:v>
                </c:pt>
                <c:pt idx="69">
                  <c:v>255.49962403440099</c:v>
                </c:pt>
                <c:pt idx="70">
                  <c:v>278.38367403843301</c:v>
                </c:pt>
                <c:pt idx="71">
                  <c:v>273.45925821477999</c:v>
                </c:pt>
                <c:pt idx="72">
                  <c:v>242.27752082668101</c:v>
                </c:pt>
                <c:pt idx="73">
                  <c:v>223.42083936153699</c:v>
                </c:pt>
                <c:pt idx="74">
                  <c:v>208.451362797038</c:v>
                </c:pt>
                <c:pt idx="75">
                  <c:v>202.25612998663601</c:v>
                </c:pt>
                <c:pt idx="76">
                  <c:v>200.83580511909301</c:v>
                </c:pt>
                <c:pt idx="77">
                  <c:v>195.91138929544101</c:v>
                </c:pt>
                <c:pt idx="78">
                  <c:v>184.31518429135599</c:v>
                </c:pt>
                <c:pt idx="79">
                  <c:v>177.176182983442</c:v>
                </c:pt>
                <c:pt idx="80">
                  <c:v>171.24258896443001</c:v>
                </c:pt>
                <c:pt idx="81">
                  <c:v>165.48653555386099</c:v>
                </c:pt>
                <c:pt idx="82">
                  <c:v>163.29998279724899</c:v>
                </c:pt>
                <c:pt idx="83">
                  <c:v>163.225228856852</c:v>
                </c:pt>
                <c:pt idx="84">
                  <c:v>156.10491603403801</c:v>
                </c:pt>
                <c:pt idx="85">
                  <c:v>150.713288082904</c:v>
                </c:pt>
                <c:pt idx="86">
                  <c:v>146.386903782427</c:v>
                </c:pt>
                <c:pt idx="87">
                  <c:v>142.64920676257699</c:v>
                </c:pt>
                <c:pt idx="88">
                  <c:v>138.58446125348999</c:v>
                </c:pt>
                <c:pt idx="89">
                  <c:v>137.31364426674099</c:v>
                </c:pt>
                <c:pt idx="90">
                  <c:v>134.35151937851001</c:v>
                </c:pt>
                <c:pt idx="91">
                  <c:v>130.96890357554599</c:v>
                </c:pt>
                <c:pt idx="92">
                  <c:v>123.287936199754</c:v>
                </c:pt>
                <c:pt idx="93">
                  <c:v>117.541227031735</c:v>
                </c:pt>
                <c:pt idx="94">
                  <c:v>111.41140391918</c:v>
                </c:pt>
                <c:pt idx="95">
                  <c:v>106.47764385297801</c:v>
                </c:pt>
                <c:pt idx="96">
                  <c:v>102.31011167584499</c:v>
                </c:pt>
                <c:pt idx="97">
                  <c:v>101.142081357142</c:v>
                </c:pt>
                <c:pt idx="98">
                  <c:v>94.853406121245001</c:v>
                </c:pt>
                <c:pt idx="99">
                  <c:v>88.069486030217007</c:v>
                </c:pt>
                <c:pt idx="100">
                  <c:v>82.378842317495</c:v>
                </c:pt>
                <c:pt idx="101">
                  <c:v>79.117701667676002</c:v>
                </c:pt>
                <c:pt idx="102">
                  <c:v>73.632631291045996</c:v>
                </c:pt>
                <c:pt idx="103">
                  <c:v>72.436568244694001</c:v>
                </c:pt>
                <c:pt idx="104">
                  <c:v>71.249849440890998</c:v>
                </c:pt>
                <c:pt idx="105">
                  <c:v>67.371988782797004</c:v>
                </c:pt>
                <c:pt idx="106">
                  <c:v>62.774621448380998</c:v>
                </c:pt>
                <c:pt idx="107">
                  <c:v>58.233319569263998</c:v>
                </c:pt>
                <c:pt idx="108">
                  <c:v>53.150051622267</c:v>
                </c:pt>
                <c:pt idx="109">
                  <c:v>49.59923945341</c:v>
                </c:pt>
                <c:pt idx="110">
                  <c:v>47.132359420309001</c:v>
                </c:pt>
                <c:pt idx="111">
                  <c:v>46.571704867331</c:v>
                </c:pt>
                <c:pt idx="112">
                  <c:v>42.534992085893002</c:v>
                </c:pt>
                <c:pt idx="113">
                  <c:v>37.489101109095998</c:v>
                </c:pt>
                <c:pt idx="114">
                  <c:v>35.255827139734997</c:v>
                </c:pt>
                <c:pt idx="115">
                  <c:v>33.639273178650001</c:v>
                </c:pt>
                <c:pt idx="116">
                  <c:v>31.630261030481002</c:v>
                </c:pt>
                <c:pt idx="117">
                  <c:v>30.593050107471999</c:v>
                </c:pt>
                <c:pt idx="118">
                  <c:v>29.7</c:v>
                </c:pt>
                <c:pt idx="119">
                  <c:v>28.1</c:v>
                </c:pt>
                <c:pt idx="120">
                  <c:v>26.3</c:v>
                </c:pt>
                <c:pt idx="121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155:$C$280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155:$D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4.6939331319042</c:v>
                </c:pt>
                <c:pt idx="86" formatCode="0">
                  <c:v>158.12516246310662</c:v>
                </c:pt>
                <c:pt idx="87" formatCode="0">
                  <c:v>151.50280042521626</c:v>
                </c:pt>
                <c:pt idx="88" formatCode="0">
                  <c:v>144.93402975641871</c:v>
                </c:pt>
                <c:pt idx="89" formatCode="0">
                  <c:v>138.3422913580099</c:v>
                </c:pt>
                <c:pt idx="90" formatCode="0">
                  <c:v>131.68164977076759</c:v>
                </c:pt>
                <c:pt idx="91" formatCode="0">
                  <c:v>124.92148135521016</c:v>
                </c:pt>
                <c:pt idx="92" formatCode="0">
                  <c:v>118.84268891811774</c:v>
                </c:pt>
                <c:pt idx="93" formatCode="0">
                  <c:v>113.19262743376736</c:v>
                </c:pt>
                <c:pt idx="94" formatCode="0">
                  <c:v>107.81817870475116</c:v>
                </c:pt>
                <c:pt idx="95" formatCode="0">
                  <c:v>102.59684817314283</c:v>
                </c:pt>
                <c:pt idx="96" formatCode="0">
                  <c:v>97.559259478423925</c:v>
                </c:pt>
                <c:pt idx="97" formatCode="0">
                  <c:v>92.759003989687216</c:v>
                </c:pt>
                <c:pt idx="98" formatCode="0">
                  <c:v>88.226705346414278</c:v>
                </c:pt>
                <c:pt idx="99" formatCode="0">
                  <c:v>84.008299007827475</c:v>
                </c:pt>
                <c:pt idx="100" formatCode="0">
                  <c:v>80.004258145611715</c:v>
                </c:pt>
                <c:pt idx="101" formatCode="0">
                  <c:v>76.160991390674198</c:v>
                </c:pt>
                <c:pt idx="102" formatCode="0">
                  <c:v>72.478498743014939</c:v>
                </c:pt>
                <c:pt idx="103" formatCode="0">
                  <c:v>68.995059751985906</c:v>
                </c:pt>
                <c:pt idx="104" formatCode="0">
                  <c:v>65.7106744175871</c:v>
                </c:pt>
                <c:pt idx="105" formatCode="0">
                  <c:v>62.602375010207361</c:v>
                </c:pt>
                <c:pt idx="106" formatCode="0">
                  <c:v>59.647193800235485</c:v>
                </c:pt>
                <c:pt idx="107" formatCode="0">
                  <c:v>56.829818967930684</c:v>
                </c:pt>
                <c:pt idx="108" formatCode="0">
                  <c:v>54.150250513292974</c:v>
                </c:pt>
                <c:pt idx="109" formatCode="0">
                  <c:v>51.608488436322347</c:v>
                </c:pt>
                <c:pt idx="110" formatCode="0">
                  <c:v>49.204532737018802</c:v>
                </c:pt>
                <c:pt idx="111" formatCode="0">
                  <c:v>46.915415685771151</c:v>
                </c:pt>
                <c:pt idx="112" formatCode="0">
                  <c:v>44.748793192449803</c:v>
                </c:pt>
                <c:pt idx="113" formatCode="0">
                  <c:v>42.697009347184355</c:v>
                </c:pt>
                <c:pt idx="114" formatCode="0">
                  <c:v>40.737096420363628</c:v>
                </c:pt>
                <c:pt idx="115" formatCode="0">
                  <c:v>38.884366231728407</c:v>
                </c:pt>
                <c:pt idx="116" formatCode="0">
                  <c:v>37.123506961537906</c:v>
                </c:pt>
                <c:pt idx="117" formatCode="0">
                  <c:v>35.446862699921745</c:v>
                </c:pt>
                <c:pt idx="118" formatCode="0">
                  <c:v>33.862089356750296</c:v>
                </c:pt>
                <c:pt idx="119" formatCode="0">
                  <c:v>32.353875112282779</c:v>
                </c:pt>
                <c:pt idx="120" formatCode="0">
                  <c:v>30.914564056648807</c:v>
                </c:pt>
                <c:pt idx="121" formatCode="0">
                  <c:v>29.559468009589164</c:v>
                </c:pt>
                <c:pt idx="122" formatCode="0">
                  <c:v>28.265619241492672</c:v>
                </c:pt>
                <c:pt idx="123" formatCode="0">
                  <c:v>27.040673662229718</c:v>
                </c:pt>
                <c:pt idx="124" formatCode="0">
                  <c:v>25.876975361929908</c:v>
                </c:pt>
                <c:pt idx="125" formatCode="0">
                  <c:v>24.77452434059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155:$E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5.70451323479614</c:v>
                </c:pt>
                <c:pt idx="86" formatCode="0">
                  <c:v>160.69754817955882</c:v>
                </c:pt>
                <c:pt idx="87" formatCode="0">
                  <c:v>155.93557224017411</c:v>
                </c:pt>
                <c:pt idx="88" formatCode="0">
                  <c:v>151.37264995741961</c:v>
                </c:pt>
                <c:pt idx="89" formatCode="0">
                  <c:v>147.03940497077687</c:v>
                </c:pt>
                <c:pt idx="90" formatCode="0">
                  <c:v>142.94349319011638</c:v>
                </c:pt>
                <c:pt idx="91" formatCode="0">
                  <c:v>139.07725870556766</c:v>
                </c:pt>
                <c:pt idx="92" formatCode="0">
                  <c:v>135.22633604075978</c:v>
                </c:pt>
                <c:pt idx="93" formatCode="0">
                  <c:v>131.4443165647854</c:v>
                </c:pt>
                <c:pt idx="94" formatCode="0">
                  <c:v>127.7847916467373</c:v>
                </c:pt>
                <c:pt idx="95" formatCode="0">
                  <c:v>124.27072901622672</c:v>
                </c:pt>
                <c:pt idx="96" formatCode="0">
                  <c:v>120.87150503377202</c:v>
                </c:pt>
                <c:pt idx="97" formatCode="0">
                  <c:v>117.57946378950282</c:v>
                </c:pt>
                <c:pt idx="98" formatCode="0">
                  <c:v>114.37163755380797</c:v>
                </c:pt>
                <c:pt idx="99" formatCode="0">
                  <c:v>111.23271450694666</c:v>
                </c:pt>
                <c:pt idx="100" formatCode="0">
                  <c:v>108.18566237853005</c:v>
                </c:pt>
                <c:pt idx="101" formatCode="0">
                  <c:v>105.23813707842855</c:v>
                </c:pt>
                <c:pt idx="102" formatCode="0">
                  <c:v>102.3901386066422</c:v>
                </c:pt>
                <c:pt idx="103" formatCode="0">
                  <c:v>99.618699233559767</c:v>
                </c:pt>
                <c:pt idx="104" formatCode="0">
                  <c:v>96.916163049310853</c:v>
                </c:pt>
                <c:pt idx="105" formatCode="0">
                  <c:v>94.290185963765907</c:v>
                </c:pt>
                <c:pt idx="106" formatCode="0">
                  <c:v>91.74842388679528</c:v>
                </c:pt>
                <c:pt idx="107" formatCode="0">
                  <c:v>89.283220908528591</c:v>
                </c:pt>
                <c:pt idx="108" formatCode="0">
                  <c:v>86.894577028965827</c:v>
                </c:pt>
                <c:pt idx="109" formatCode="0">
                  <c:v>84.5671804283662</c:v>
                </c:pt>
                <c:pt idx="110" formatCode="0">
                  <c:v>82.316342926470512</c:v>
                </c:pt>
                <c:pt idx="111" formatCode="0">
                  <c:v>80.126752703537989</c:v>
                </c:pt>
                <c:pt idx="112" formatCode="0">
                  <c:v>77.998409759568617</c:v>
                </c:pt>
                <c:pt idx="113" formatCode="0">
                  <c:v>75.931314094562396</c:v>
                </c:pt>
                <c:pt idx="114" formatCode="0">
                  <c:v>73.925465708519297</c:v>
                </c:pt>
                <c:pt idx="115" formatCode="0">
                  <c:v>71.973208691568971</c:v>
                </c:pt>
                <c:pt idx="116" formatCode="0">
                  <c:v>70.082198953581766</c:v>
                </c:pt>
                <c:pt idx="117" formatCode="0">
                  <c:v>68.237124674816968</c:v>
                </c:pt>
                <c:pt idx="118" formatCode="0">
                  <c:v>66.453297675015278</c:v>
                </c:pt>
                <c:pt idx="119" formatCode="0">
                  <c:v>64.715406134435952</c:v>
                </c:pt>
                <c:pt idx="120" formatCode="0">
                  <c:v>63.03110596294939</c:v>
                </c:pt>
                <c:pt idx="121" formatCode="0">
                  <c:v>61.400397160555592</c:v>
                </c:pt>
                <c:pt idx="122" formatCode="0">
                  <c:v>59.815623817384143</c:v>
                </c:pt>
                <c:pt idx="123" formatCode="0">
                  <c:v>58.27678593343505</c:v>
                </c:pt>
                <c:pt idx="124" formatCode="0">
                  <c:v>56.783883508708321</c:v>
                </c:pt>
                <c:pt idx="125" formatCode="0">
                  <c:v>55.329260633333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155:$F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6.70743742781769</c:v>
                </c:pt>
                <c:pt idx="86" formatCode="0">
                  <c:v>163.26227798614065</c:v>
                </c:pt>
                <c:pt idx="87" formatCode="0">
                  <c:v>160.36068814526149</c:v>
                </c:pt>
                <c:pt idx="88" formatCode="0">
                  <c:v>157.8036142485501</c:v>
                </c:pt>
                <c:pt idx="89" formatCode="0">
                  <c:v>155.77479813289582</c:v>
                </c:pt>
                <c:pt idx="90" formatCode="0">
                  <c:v>154.36611071674341</c:v>
                </c:pt>
                <c:pt idx="91" formatCode="0">
                  <c:v>153.61583154944486</c:v>
                </c:pt>
                <c:pt idx="92" formatCode="0">
                  <c:v>152.32198278134837</c:v>
                </c:pt>
                <c:pt idx="93" formatCode="0">
                  <c:v>150.80611262701044</c:v>
                </c:pt>
                <c:pt idx="94" formatCode="0">
                  <c:v>149.32852202202454</c:v>
                </c:pt>
                <c:pt idx="95" formatCode="0">
                  <c:v>148.10357644276158</c:v>
                </c:pt>
                <c:pt idx="96" formatCode="0">
                  <c:v>147.02409315103611</c:v>
                </c:pt>
                <c:pt idx="97" formatCode="0">
                  <c:v>145.97523349879222</c:v>
                </c:pt>
                <c:pt idx="98" formatCode="0">
                  <c:v>144.84981474784436</c:v>
                </c:pt>
                <c:pt idx="99" formatCode="0">
                  <c:v>143.59424552909985</c:v>
                </c:pt>
                <c:pt idx="100" formatCode="0">
                  <c:v>142.36929994983686</c:v>
                </c:pt>
                <c:pt idx="101" formatCode="0">
                  <c:v>141.23622528901865</c:v>
                </c:pt>
                <c:pt idx="102" formatCode="0">
                  <c:v>140.17970972690432</c:v>
                </c:pt>
                <c:pt idx="103" formatCode="0">
                  <c:v>139.10788234504926</c:v>
                </c:pt>
                <c:pt idx="104" formatCode="0">
                  <c:v>138.0054313237126</c:v>
                </c:pt>
                <c:pt idx="105" formatCode="0">
                  <c:v>136.88001257276477</c:v>
                </c:pt>
                <c:pt idx="106" formatCode="0">
                  <c:v>135.76224973168732</c:v>
                </c:pt>
                <c:pt idx="107" formatCode="0">
                  <c:v>134.69807825970261</c:v>
                </c:pt>
                <c:pt idx="108" formatCode="0">
                  <c:v>133.66453042719951</c:v>
                </c:pt>
                <c:pt idx="109" formatCode="0">
                  <c:v>132.63098259469638</c:v>
                </c:pt>
                <c:pt idx="110" formatCode="0">
                  <c:v>131.58212294245249</c:v>
                </c:pt>
                <c:pt idx="111" formatCode="0">
                  <c:v>130.53326329020857</c:v>
                </c:pt>
                <c:pt idx="112" formatCode="0">
                  <c:v>129.50737136757584</c:v>
                </c:pt>
                <c:pt idx="113" formatCode="0">
                  <c:v>128.49679126468391</c:v>
                </c:pt>
                <c:pt idx="114" formatCode="0">
                  <c:v>127.50152298153277</c:v>
                </c:pt>
                <c:pt idx="115" formatCode="0">
                  <c:v>126.51391060825202</c:v>
                </c:pt>
                <c:pt idx="116" formatCode="0">
                  <c:v>125.52629823497125</c:v>
                </c:pt>
                <c:pt idx="117" formatCode="0">
                  <c:v>124.55399768143127</c:v>
                </c:pt>
                <c:pt idx="118" formatCode="0">
                  <c:v>123.5816971278913</c:v>
                </c:pt>
                <c:pt idx="119" formatCode="0">
                  <c:v>122.62470839409212</c:v>
                </c:pt>
                <c:pt idx="120" formatCode="0">
                  <c:v>121.68303148003372</c:v>
                </c:pt>
                <c:pt idx="121" formatCode="0">
                  <c:v>120.74135456597533</c:v>
                </c:pt>
                <c:pt idx="122" formatCode="0">
                  <c:v>119.80733356178732</c:v>
                </c:pt>
                <c:pt idx="123" formatCode="0">
                  <c:v>118.8809684674697</c:v>
                </c:pt>
                <c:pt idx="124" formatCode="0">
                  <c:v>117.9622592830225</c:v>
                </c:pt>
                <c:pt idx="125" formatCode="0">
                  <c:v>117.05886191831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851</c:v>
                </c:pt>
                <c:pt idx="1">
                  <c:v>2399</c:v>
                </c:pt>
                <c:pt idx="2">
                  <c:v>2167</c:v>
                </c:pt>
                <c:pt idx="3">
                  <c:v>2054</c:v>
                </c:pt>
                <c:pt idx="4">
                  <c:v>1877</c:v>
                </c:pt>
                <c:pt idx="5">
                  <c:v>1311</c:v>
                </c:pt>
                <c:pt idx="6">
                  <c:v>645</c:v>
                </c:pt>
                <c:pt idx="7">
                  <c:v>1543</c:v>
                </c:pt>
                <c:pt idx="8">
                  <c:v>1983</c:v>
                </c:pt>
                <c:pt idx="9">
                  <c:v>2017</c:v>
                </c:pt>
                <c:pt idx="10">
                  <c:v>1628</c:v>
                </c:pt>
                <c:pt idx="11">
                  <c:v>2249</c:v>
                </c:pt>
                <c:pt idx="12">
                  <c:v>979</c:v>
                </c:pt>
                <c:pt idx="13">
                  <c:v>541</c:v>
                </c:pt>
                <c:pt idx="14">
                  <c:v>1624</c:v>
                </c:pt>
                <c:pt idx="15">
                  <c:v>2050</c:v>
                </c:pt>
                <c:pt idx="16">
                  <c:v>1787</c:v>
                </c:pt>
                <c:pt idx="17">
                  <c:v>1585</c:v>
                </c:pt>
                <c:pt idx="18">
                  <c:v>1430</c:v>
                </c:pt>
                <c:pt idx="19">
                  <c:v>843</c:v>
                </c:pt>
                <c:pt idx="20">
                  <c:v>440</c:v>
                </c:pt>
                <c:pt idx="21">
                  <c:v>1211</c:v>
                </c:pt>
                <c:pt idx="22">
                  <c:v>1621</c:v>
                </c:pt>
                <c:pt idx="23">
                  <c:v>1320</c:v>
                </c:pt>
                <c:pt idx="24">
                  <c:v>1288</c:v>
                </c:pt>
                <c:pt idx="25">
                  <c:v>1176</c:v>
                </c:pt>
                <c:pt idx="26">
                  <c:v>641</c:v>
                </c:pt>
                <c:pt idx="27">
                  <c:v>326</c:v>
                </c:pt>
                <c:pt idx="28">
                  <c:v>1117</c:v>
                </c:pt>
                <c:pt idx="29">
                  <c:v>1294</c:v>
                </c:pt>
                <c:pt idx="30">
                  <c:v>1193</c:v>
                </c:pt>
                <c:pt idx="31">
                  <c:v>989</c:v>
                </c:pt>
                <c:pt idx="32">
                  <c:v>550</c:v>
                </c:pt>
                <c:pt idx="33">
                  <c:v>377</c:v>
                </c:pt>
                <c:pt idx="34">
                  <c:v>327</c:v>
                </c:pt>
                <c:pt idx="35">
                  <c:v>290</c:v>
                </c:pt>
                <c:pt idx="36">
                  <c:v>816</c:v>
                </c:pt>
                <c:pt idx="37">
                  <c:v>980</c:v>
                </c:pt>
                <c:pt idx="38">
                  <c:v>782</c:v>
                </c:pt>
                <c:pt idx="39">
                  <c:v>716</c:v>
                </c:pt>
                <c:pt idx="40">
                  <c:v>363</c:v>
                </c:pt>
                <c:pt idx="41">
                  <c:v>202</c:v>
                </c:pt>
                <c:pt idx="42">
                  <c:v>578</c:v>
                </c:pt>
                <c:pt idx="43">
                  <c:v>691</c:v>
                </c:pt>
                <c:pt idx="44">
                  <c:v>581</c:v>
                </c:pt>
                <c:pt idx="45">
                  <c:v>468</c:v>
                </c:pt>
                <c:pt idx="46">
                  <c:v>513</c:v>
                </c:pt>
                <c:pt idx="47">
                  <c:v>245</c:v>
                </c:pt>
                <c:pt idx="48">
                  <c:v>144</c:v>
                </c:pt>
                <c:pt idx="49">
                  <c:v>469</c:v>
                </c:pt>
                <c:pt idx="50">
                  <c:v>490</c:v>
                </c:pt>
                <c:pt idx="51">
                  <c:v>412</c:v>
                </c:pt>
                <c:pt idx="52">
                  <c:v>400</c:v>
                </c:pt>
                <c:pt idx="53">
                  <c:v>335</c:v>
                </c:pt>
                <c:pt idx="54">
                  <c:v>156</c:v>
                </c:pt>
                <c:pt idx="55">
                  <c:v>120</c:v>
                </c:pt>
                <c:pt idx="56">
                  <c:v>371</c:v>
                </c:pt>
                <c:pt idx="57">
                  <c:v>384</c:v>
                </c:pt>
                <c:pt idx="58">
                  <c:v>330</c:v>
                </c:pt>
                <c:pt idx="59">
                  <c:v>302</c:v>
                </c:pt>
                <c:pt idx="60">
                  <c:v>303</c:v>
                </c:pt>
                <c:pt idx="61">
                  <c:v>172</c:v>
                </c:pt>
                <c:pt idx="62">
                  <c:v>86</c:v>
                </c:pt>
                <c:pt idx="63">
                  <c:v>299</c:v>
                </c:pt>
                <c:pt idx="64">
                  <c:v>310</c:v>
                </c:pt>
                <c:pt idx="65">
                  <c:v>251</c:v>
                </c:pt>
                <c:pt idx="66">
                  <c:v>223</c:v>
                </c:pt>
                <c:pt idx="67">
                  <c:v>179</c:v>
                </c:pt>
                <c:pt idx="68">
                  <c:v>91</c:v>
                </c:pt>
                <c:pt idx="69">
                  <c:v>56</c:v>
                </c:pt>
                <c:pt idx="70">
                  <c:v>214</c:v>
                </c:pt>
                <c:pt idx="71">
                  <c:v>184</c:v>
                </c:pt>
                <c:pt idx="72">
                  <c:v>133</c:v>
                </c:pt>
                <c:pt idx="73">
                  <c:v>155</c:v>
                </c:pt>
                <c:pt idx="74">
                  <c:v>132</c:v>
                </c:pt>
                <c:pt idx="75">
                  <c:v>70</c:v>
                </c:pt>
                <c:pt idx="76">
                  <c:v>29</c:v>
                </c:pt>
                <c:pt idx="77">
                  <c:v>117</c:v>
                </c:pt>
                <c:pt idx="78">
                  <c:v>139</c:v>
                </c:pt>
                <c:pt idx="79">
                  <c:v>92</c:v>
                </c:pt>
                <c:pt idx="80">
                  <c:v>91</c:v>
                </c:pt>
                <c:pt idx="81">
                  <c:v>76</c:v>
                </c:pt>
                <c:pt idx="82">
                  <c:v>32</c:v>
                </c:pt>
                <c:pt idx="83">
                  <c:v>19</c:v>
                </c:pt>
                <c:pt idx="84">
                  <c:v>68</c:v>
                </c:pt>
                <c:pt idx="85">
                  <c:v>79</c:v>
                </c:pt>
                <c:pt idx="86">
                  <c:v>59</c:v>
                </c:pt>
                <c:pt idx="87">
                  <c:v>48</c:v>
                </c:pt>
                <c:pt idx="88">
                  <c:v>59</c:v>
                </c:pt>
                <c:pt idx="89">
                  <c:v>19</c:v>
                </c:pt>
                <c:pt idx="90">
                  <c:v>12</c:v>
                </c:pt>
                <c:pt idx="91">
                  <c:v>49</c:v>
                </c:pt>
                <c:pt idx="92">
                  <c:v>40</c:v>
                </c:pt>
                <c:pt idx="93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7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  <c:pt idx="61">
                  <c:v>44317</c:v>
                </c:pt>
                <c:pt idx="62">
                  <c:v>44318</c:v>
                </c:pt>
                <c:pt idx="63">
                  <c:v>44319</c:v>
                </c:pt>
                <c:pt idx="64">
                  <c:v>44320</c:v>
                </c:pt>
                <c:pt idx="65">
                  <c:v>44321</c:v>
                </c:pt>
                <c:pt idx="66">
                  <c:v>44322</c:v>
                </c:pt>
                <c:pt idx="67">
                  <c:v>44323</c:v>
                </c:pt>
                <c:pt idx="68">
                  <c:v>44324</c:v>
                </c:pt>
                <c:pt idx="69">
                  <c:v>44325</c:v>
                </c:pt>
                <c:pt idx="70">
                  <c:v>44326</c:v>
                </c:pt>
                <c:pt idx="71">
                  <c:v>44327</c:v>
                </c:pt>
                <c:pt idx="72">
                  <c:v>44328</c:v>
                </c:pt>
                <c:pt idx="73">
                  <c:v>44329</c:v>
                </c:pt>
                <c:pt idx="74">
                  <c:v>44330</c:v>
                </c:pt>
                <c:pt idx="75">
                  <c:v>44331</c:v>
                </c:pt>
                <c:pt idx="76">
                  <c:v>44332</c:v>
                </c:pt>
                <c:pt idx="77">
                  <c:v>44333</c:v>
                </c:pt>
                <c:pt idx="78">
                  <c:v>44334</c:v>
                </c:pt>
                <c:pt idx="79">
                  <c:v>44335</c:v>
                </c:pt>
                <c:pt idx="80">
                  <c:v>44336</c:v>
                </c:pt>
                <c:pt idx="81">
                  <c:v>44337</c:v>
                </c:pt>
                <c:pt idx="82">
                  <c:v>44338</c:v>
                </c:pt>
                <c:pt idx="83">
                  <c:v>44339</c:v>
                </c:pt>
                <c:pt idx="84">
                  <c:v>44340</c:v>
                </c:pt>
                <c:pt idx="85">
                  <c:v>44341</c:v>
                </c:pt>
                <c:pt idx="86">
                  <c:v>44342</c:v>
                </c:pt>
                <c:pt idx="87">
                  <c:v>44343</c:v>
                </c:pt>
                <c:pt idx="88">
                  <c:v>44344</c:v>
                </c:pt>
                <c:pt idx="89">
                  <c:v>44345</c:v>
                </c:pt>
                <c:pt idx="90">
                  <c:v>44346</c:v>
                </c:pt>
                <c:pt idx="91">
                  <c:v>44347</c:v>
                </c:pt>
                <c:pt idx="92">
                  <c:v>44348</c:v>
                </c:pt>
                <c:pt idx="93">
                  <c:v>44349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773</c:v>
                </c:pt>
                <c:pt idx="1">
                  <c:v>917</c:v>
                </c:pt>
                <c:pt idx="2">
                  <c:v>853</c:v>
                </c:pt>
                <c:pt idx="3">
                  <c:v>747</c:v>
                </c:pt>
                <c:pt idx="4">
                  <c:v>713</c:v>
                </c:pt>
                <c:pt idx="5">
                  <c:v>532</c:v>
                </c:pt>
                <c:pt idx="6">
                  <c:v>294</c:v>
                </c:pt>
                <c:pt idx="7">
                  <c:v>586</c:v>
                </c:pt>
                <c:pt idx="8">
                  <c:v>736</c:v>
                </c:pt>
                <c:pt idx="9">
                  <c:v>752</c:v>
                </c:pt>
                <c:pt idx="10">
                  <c:v>640</c:v>
                </c:pt>
                <c:pt idx="11">
                  <c:v>854</c:v>
                </c:pt>
                <c:pt idx="12">
                  <c:v>372</c:v>
                </c:pt>
                <c:pt idx="13">
                  <c:v>220</c:v>
                </c:pt>
                <c:pt idx="14">
                  <c:v>663</c:v>
                </c:pt>
                <c:pt idx="15">
                  <c:v>766</c:v>
                </c:pt>
                <c:pt idx="16">
                  <c:v>673</c:v>
                </c:pt>
                <c:pt idx="17">
                  <c:v>601</c:v>
                </c:pt>
                <c:pt idx="18">
                  <c:v>526</c:v>
                </c:pt>
                <c:pt idx="19">
                  <c:v>352</c:v>
                </c:pt>
                <c:pt idx="20">
                  <c:v>193</c:v>
                </c:pt>
                <c:pt idx="21">
                  <c:v>462</c:v>
                </c:pt>
                <c:pt idx="22">
                  <c:v>618</c:v>
                </c:pt>
                <c:pt idx="23">
                  <c:v>486</c:v>
                </c:pt>
                <c:pt idx="24">
                  <c:v>482</c:v>
                </c:pt>
                <c:pt idx="25">
                  <c:v>439</c:v>
                </c:pt>
                <c:pt idx="26">
                  <c:v>267</c:v>
                </c:pt>
                <c:pt idx="27">
                  <c:v>132</c:v>
                </c:pt>
                <c:pt idx="28">
                  <c:v>427</c:v>
                </c:pt>
                <c:pt idx="29">
                  <c:v>466</c:v>
                </c:pt>
                <c:pt idx="30">
                  <c:v>428</c:v>
                </c:pt>
                <c:pt idx="31">
                  <c:v>360</c:v>
                </c:pt>
                <c:pt idx="32">
                  <c:v>216</c:v>
                </c:pt>
                <c:pt idx="33">
                  <c:v>151</c:v>
                </c:pt>
                <c:pt idx="34">
                  <c:v>150</c:v>
                </c:pt>
                <c:pt idx="35">
                  <c:v>129</c:v>
                </c:pt>
                <c:pt idx="36">
                  <c:v>304</c:v>
                </c:pt>
                <c:pt idx="37">
                  <c:v>307</c:v>
                </c:pt>
                <c:pt idx="38">
                  <c:v>278</c:v>
                </c:pt>
                <c:pt idx="39">
                  <c:v>274</c:v>
                </c:pt>
                <c:pt idx="40">
                  <c:v>131</c:v>
                </c:pt>
                <c:pt idx="41">
                  <c:v>81</c:v>
                </c:pt>
                <c:pt idx="42">
                  <c:v>215</c:v>
                </c:pt>
                <c:pt idx="43">
                  <c:v>245</c:v>
                </c:pt>
                <c:pt idx="44">
                  <c:v>233</c:v>
                </c:pt>
                <c:pt idx="45">
                  <c:v>195</c:v>
                </c:pt>
                <c:pt idx="46">
                  <c:v>193</c:v>
                </c:pt>
                <c:pt idx="47">
                  <c:v>89</c:v>
                </c:pt>
                <c:pt idx="48">
                  <c:v>64</c:v>
                </c:pt>
                <c:pt idx="49">
                  <c:v>170</c:v>
                </c:pt>
                <c:pt idx="50">
                  <c:v>169</c:v>
                </c:pt>
                <c:pt idx="51">
                  <c:v>145</c:v>
                </c:pt>
                <c:pt idx="52">
                  <c:v>148</c:v>
                </c:pt>
                <c:pt idx="53">
                  <c:v>100</c:v>
                </c:pt>
                <c:pt idx="54">
                  <c:v>53</c:v>
                </c:pt>
                <c:pt idx="55">
                  <c:v>48</c:v>
                </c:pt>
                <c:pt idx="56">
                  <c:v>137</c:v>
                </c:pt>
                <c:pt idx="57">
                  <c:v>145</c:v>
                </c:pt>
                <c:pt idx="58">
                  <c:v>108</c:v>
                </c:pt>
                <c:pt idx="59">
                  <c:v>91</c:v>
                </c:pt>
                <c:pt idx="60">
                  <c:v>100</c:v>
                </c:pt>
                <c:pt idx="61">
                  <c:v>65</c:v>
                </c:pt>
                <c:pt idx="62">
                  <c:v>38</c:v>
                </c:pt>
                <c:pt idx="63">
                  <c:v>88</c:v>
                </c:pt>
                <c:pt idx="64">
                  <c:v>93</c:v>
                </c:pt>
                <c:pt idx="65">
                  <c:v>84</c:v>
                </c:pt>
                <c:pt idx="66">
                  <c:v>79</c:v>
                </c:pt>
                <c:pt idx="67">
                  <c:v>59</c:v>
                </c:pt>
                <c:pt idx="68">
                  <c:v>32</c:v>
                </c:pt>
                <c:pt idx="69">
                  <c:v>22</c:v>
                </c:pt>
                <c:pt idx="70">
                  <c:v>84</c:v>
                </c:pt>
                <c:pt idx="71">
                  <c:v>58</c:v>
                </c:pt>
                <c:pt idx="72">
                  <c:v>38</c:v>
                </c:pt>
                <c:pt idx="73">
                  <c:v>50</c:v>
                </c:pt>
                <c:pt idx="74">
                  <c:v>45</c:v>
                </c:pt>
                <c:pt idx="75">
                  <c:v>25</c:v>
                </c:pt>
                <c:pt idx="76">
                  <c:v>11</c:v>
                </c:pt>
                <c:pt idx="77">
                  <c:v>46</c:v>
                </c:pt>
                <c:pt idx="78">
                  <c:v>53</c:v>
                </c:pt>
                <c:pt idx="79">
                  <c:v>45</c:v>
                </c:pt>
                <c:pt idx="80">
                  <c:v>43</c:v>
                </c:pt>
                <c:pt idx="81">
                  <c:v>30</c:v>
                </c:pt>
                <c:pt idx="82">
                  <c:v>16</c:v>
                </c:pt>
                <c:pt idx="83">
                  <c:v>9</c:v>
                </c:pt>
                <c:pt idx="84">
                  <c:v>28</c:v>
                </c:pt>
                <c:pt idx="85">
                  <c:v>34</c:v>
                </c:pt>
                <c:pt idx="86">
                  <c:v>29</c:v>
                </c:pt>
                <c:pt idx="87">
                  <c:v>21</c:v>
                </c:pt>
                <c:pt idx="88">
                  <c:v>17</c:v>
                </c:pt>
                <c:pt idx="89">
                  <c:v>8</c:v>
                </c:pt>
                <c:pt idx="90">
                  <c:v>7</c:v>
                </c:pt>
                <c:pt idx="91">
                  <c:v>25</c:v>
                </c:pt>
                <c:pt idx="92">
                  <c:v>13</c:v>
                </c:pt>
                <c:pt idx="9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F-4B56-9C79-478BA9376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2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7192</c:v>
                </c:pt>
                <c:pt idx="1">
                  <c:v>6364</c:v>
                </c:pt>
                <c:pt idx="2">
                  <c:v>6215</c:v>
                </c:pt>
                <c:pt idx="3">
                  <c:v>6312</c:v>
                </c:pt>
                <c:pt idx="4">
                  <c:v>6379</c:v>
                </c:pt>
                <c:pt idx="5">
                  <c:v>7053</c:v>
                </c:pt>
                <c:pt idx="6">
                  <c:v>6697</c:v>
                </c:pt>
                <c:pt idx="7">
                  <c:v>6223</c:v>
                </c:pt>
                <c:pt idx="8">
                  <c:v>5905</c:v>
                </c:pt>
                <c:pt idx="9">
                  <c:v>5266</c:v>
                </c:pt>
                <c:pt idx="10">
                  <c:v>5220</c:v>
                </c:pt>
                <c:pt idx="11">
                  <c:v>5515</c:v>
                </c:pt>
                <c:pt idx="12">
                  <c:v>5208</c:v>
                </c:pt>
                <c:pt idx="13">
                  <c:v>4906</c:v>
                </c:pt>
                <c:pt idx="14">
                  <c:v>4649</c:v>
                </c:pt>
                <c:pt idx="15">
                  <c:v>4402</c:v>
                </c:pt>
                <c:pt idx="16">
                  <c:v>4008</c:v>
                </c:pt>
                <c:pt idx="17">
                  <c:v>4016</c:v>
                </c:pt>
                <c:pt idx="18">
                  <c:v>4288</c:v>
                </c:pt>
                <c:pt idx="19">
                  <c:v>4121</c:v>
                </c:pt>
                <c:pt idx="20">
                  <c:v>3961</c:v>
                </c:pt>
                <c:pt idx="21">
                  <c:v>3724</c:v>
                </c:pt>
                <c:pt idx="22">
                  <c:v>3510</c:v>
                </c:pt>
                <c:pt idx="23">
                  <c:v>3164</c:v>
                </c:pt>
                <c:pt idx="24">
                  <c:v>3157</c:v>
                </c:pt>
                <c:pt idx="25">
                  <c:v>3308</c:v>
                </c:pt>
                <c:pt idx="26">
                  <c:v>3138</c:v>
                </c:pt>
                <c:pt idx="27">
                  <c:v>2989</c:v>
                </c:pt>
                <c:pt idx="28">
                  <c:v>2822</c:v>
                </c:pt>
                <c:pt idx="29">
                  <c:v>2664</c:v>
                </c:pt>
                <c:pt idx="30">
                  <c:v>2452</c:v>
                </c:pt>
                <c:pt idx="31">
                  <c:v>2478</c:v>
                </c:pt>
                <c:pt idx="32">
                  <c:v>2668</c:v>
                </c:pt>
                <c:pt idx="33">
                  <c:v>2518</c:v>
                </c:pt>
                <c:pt idx="34">
                  <c:v>2344</c:v>
                </c:pt>
                <c:pt idx="35">
                  <c:v>2212</c:v>
                </c:pt>
                <c:pt idx="36">
                  <c:v>2118</c:v>
                </c:pt>
                <c:pt idx="37">
                  <c:v>1879</c:v>
                </c:pt>
                <c:pt idx="38">
                  <c:v>1860</c:v>
                </c:pt>
                <c:pt idx="39">
                  <c:v>1977</c:v>
                </c:pt>
                <c:pt idx="40">
                  <c:v>1820</c:v>
                </c:pt>
                <c:pt idx="41">
                  <c:v>1708</c:v>
                </c:pt>
                <c:pt idx="42">
                  <c:v>1611</c:v>
                </c:pt>
                <c:pt idx="43">
                  <c:v>1522</c:v>
                </c:pt>
                <c:pt idx="44">
                  <c:v>1325</c:v>
                </c:pt>
                <c:pt idx="45">
                  <c:v>1311</c:v>
                </c:pt>
                <c:pt idx="46">
                  <c:v>1390</c:v>
                </c:pt>
                <c:pt idx="47">
                  <c:v>1254</c:v>
                </c:pt>
                <c:pt idx="48">
                  <c:v>1148</c:v>
                </c:pt>
                <c:pt idx="49">
                  <c:v>1058</c:v>
                </c:pt>
                <c:pt idx="50">
                  <c:v>1011</c:v>
                </c:pt>
                <c:pt idx="51">
                  <c:v>868</c:v>
                </c:pt>
                <c:pt idx="52">
                  <c:v>851</c:v>
                </c:pt>
                <c:pt idx="53">
                  <c:v>881</c:v>
                </c:pt>
                <c:pt idx="54">
                  <c:v>785</c:v>
                </c:pt>
                <c:pt idx="55">
                  <c:v>759</c:v>
                </c:pt>
                <c:pt idx="56">
                  <c:v>665</c:v>
                </c:pt>
                <c:pt idx="57">
                  <c:v>606</c:v>
                </c:pt>
                <c:pt idx="58">
                  <c:v>504</c:v>
                </c:pt>
                <c:pt idx="59">
                  <c:v>504</c:v>
                </c:pt>
                <c:pt idx="60">
                  <c:v>542</c:v>
                </c:pt>
                <c:pt idx="61">
                  <c:v>471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F8-4AB8-A8EE-CBCC174D4D3C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F8-4AB8-A8EE-CBCC174D4D3C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F8-4AB8-A8EE-CBCC174D4D3C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8F8-4AB8-A8EE-CBCC174D4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Počet hospitalizací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CU$7</c:f>
              <c:numCache>
                <c:formatCode>General</c:formatCode>
                <c:ptCount val="98"/>
                <c:pt idx="0">
                  <c:v>1501</c:v>
                </c:pt>
                <c:pt idx="1">
                  <c:v>1420</c:v>
                </c:pt>
                <c:pt idx="2">
                  <c:v>1397</c:v>
                </c:pt>
                <c:pt idx="3">
                  <c:v>1378</c:v>
                </c:pt>
                <c:pt idx="4">
                  <c:v>1344</c:v>
                </c:pt>
                <c:pt idx="5">
                  <c:v>1392</c:v>
                </c:pt>
                <c:pt idx="6">
                  <c:v>1358</c:v>
                </c:pt>
                <c:pt idx="7">
                  <c:v>1312</c:v>
                </c:pt>
                <c:pt idx="8">
                  <c:v>1232</c:v>
                </c:pt>
                <c:pt idx="9">
                  <c:v>1213</c:v>
                </c:pt>
                <c:pt idx="10">
                  <c:v>1195</c:v>
                </c:pt>
                <c:pt idx="11">
                  <c:v>1182</c:v>
                </c:pt>
                <c:pt idx="12">
                  <c:v>1154</c:v>
                </c:pt>
                <c:pt idx="13">
                  <c:v>1110</c:v>
                </c:pt>
                <c:pt idx="14">
                  <c:v>1033</c:v>
                </c:pt>
                <c:pt idx="15">
                  <c:v>1010</c:v>
                </c:pt>
                <c:pt idx="16">
                  <c:v>971</c:v>
                </c:pt>
                <c:pt idx="17">
                  <c:v>973</c:v>
                </c:pt>
                <c:pt idx="18">
                  <c:v>992</c:v>
                </c:pt>
                <c:pt idx="19">
                  <c:v>941</c:v>
                </c:pt>
                <c:pt idx="20">
                  <c:v>906</c:v>
                </c:pt>
                <c:pt idx="21">
                  <c:v>830</c:v>
                </c:pt>
                <c:pt idx="22">
                  <c:v>784</c:v>
                </c:pt>
                <c:pt idx="23">
                  <c:v>749</c:v>
                </c:pt>
                <c:pt idx="24">
                  <c:v>757</c:v>
                </c:pt>
                <c:pt idx="25">
                  <c:v>735</c:v>
                </c:pt>
                <c:pt idx="26">
                  <c:v>709</c:v>
                </c:pt>
                <c:pt idx="27">
                  <c:v>683</c:v>
                </c:pt>
                <c:pt idx="28">
                  <c:v>634</c:v>
                </c:pt>
                <c:pt idx="29">
                  <c:v>576</c:v>
                </c:pt>
                <c:pt idx="30">
                  <c:v>551</c:v>
                </c:pt>
                <c:pt idx="31">
                  <c:v>557</c:v>
                </c:pt>
                <c:pt idx="32">
                  <c:v>563</c:v>
                </c:pt>
                <c:pt idx="33">
                  <c:v>542</c:v>
                </c:pt>
                <c:pt idx="34">
                  <c:v>499</c:v>
                </c:pt>
                <c:pt idx="35">
                  <c:v>464</c:v>
                </c:pt>
                <c:pt idx="36">
                  <c:v>441</c:v>
                </c:pt>
                <c:pt idx="37">
                  <c:v>413</c:v>
                </c:pt>
                <c:pt idx="38">
                  <c:v>419</c:v>
                </c:pt>
                <c:pt idx="39">
                  <c:v>425</c:v>
                </c:pt>
                <c:pt idx="40">
                  <c:v>402</c:v>
                </c:pt>
                <c:pt idx="41">
                  <c:v>377</c:v>
                </c:pt>
                <c:pt idx="42">
                  <c:v>367</c:v>
                </c:pt>
                <c:pt idx="43">
                  <c:v>340</c:v>
                </c:pt>
                <c:pt idx="44">
                  <c:v>307</c:v>
                </c:pt>
                <c:pt idx="45">
                  <c:v>302</c:v>
                </c:pt>
                <c:pt idx="46">
                  <c:v>294</c:v>
                </c:pt>
                <c:pt idx="47">
                  <c:v>278</c:v>
                </c:pt>
                <c:pt idx="48">
                  <c:v>249</c:v>
                </c:pt>
                <c:pt idx="49">
                  <c:v>218</c:v>
                </c:pt>
                <c:pt idx="50">
                  <c:v>191</c:v>
                </c:pt>
                <c:pt idx="51">
                  <c:v>189</c:v>
                </c:pt>
                <c:pt idx="52">
                  <c:v>187</c:v>
                </c:pt>
                <c:pt idx="53">
                  <c:v>182</c:v>
                </c:pt>
                <c:pt idx="54">
                  <c:v>162</c:v>
                </c:pt>
                <c:pt idx="55">
                  <c:v>156</c:v>
                </c:pt>
                <c:pt idx="56">
                  <c:v>144</c:v>
                </c:pt>
                <c:pt idx="57">
                  <c:v>128</c:v>
                </c:pt>
                <c:pt idx="58">
                  <c:v>111</c:v>
                </c:pt>
                <c:pt idx="59">
                  <c:v>113</c:v>
                </c:pt>
                <c:pt idx="60">
                  <c:v>117</c:v>
                </c:pt>
                <c:pt idx="61">
                  <c:v>101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CU$2</c:f>
              <c:numCache>
                <c:formatCode>General</c:formatCode>
                <c:ptCount val="98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5F-43E9-953D-C9CE717F27E6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CU$3</c:f>
              <c:numCache>
                <c:formatCode>General</c:formatCode>
                <c:ptCount val="98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5F-43E9-953D-C9CE717F27E6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CU$4</c:f>
              <c:numCache>
                <c:formatCode>General</c:formatCode>
                <c:ptCount val="98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55F-43E9-953D-C9CE717F27E6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U$1</c:f>
              <c:numCache>
                <c:formatCode>m/d/yyyy</c:formatCode>
                <c:ptCount val="98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CU$6</c:f>
              <c:numCache>
                <c:formatCode>General</c:formatCode>
                <c:ptCount val="98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55F-43E9-953D-C9CE717F27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023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32399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15567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0344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064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3474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149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98000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518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76401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27718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469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994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5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15.png"/><Relationship Id="rId4" Type="http://schemas.openxmlformats.org/officeDocument/2006/relationships/image" Target="../media/image8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svg"/><Relationship Id="rId5" Type="http://schemas.openxmlformats.org/officeDocument/2006/relationships/image" Target="../media/image21.png"/><Relationship Id="rId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2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mp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mp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15.png"/><Relationship Id="rId4" Type="http://schemas.openxmlformats.org/officeDocument/2006/relationships/image" Target="../media/image8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17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1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80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461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64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06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4583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818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713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8931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98204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297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0042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32452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01270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8477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6778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0699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889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7069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7934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45469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4249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591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7270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097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750679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38706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76740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1392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0104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860249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7865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9809106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72618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915460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6462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586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034619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87438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3254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8160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788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06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06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jpeg"/><Relationship Id="rId5" Type="http://schemas.openxmlformats.org/officeDocument/2006/relationships/theme" Target="../theme/theme2.xml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5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8.sv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16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70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41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866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6486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40961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1.xml"/><Relationship Id="rId4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5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chart" Target="../charts/chart7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5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62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chart" Target="../charts/chart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6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chart" Target="../charts/chart9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7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25.png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image" Target="../media/image24.pn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23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slideLayout" Target="../slideLayouts/slideLayout14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5E01B65C-C3D5-4BD2-AFAA-CE44D5A419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998155"/>
              </p:ext>
            </p:extLst>
          </p:nvPr>
        </p:nvGraphicFramePr>
        <p:xfrm>
          <a:off x="424200" y="4023587"/>
          <a:ext cx="11343600" cy="16689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43600">
                  <a:extLst>
                    <a:ext uri="{9D8B030D-6E8A-4147-A177-3AD203B41FA5}">
                      <a16:colId xmlns:a16="http://schemas.microsoft.com/office/drawing/2014/main" val="264965848"/>
                    </a:ext>
                  </a:extLst>
                </a:gridCol>
              </a:tblGrid>
              <a:tr h="983177">
                <a:tc>
                  <a:txBody>
                    <a:bodyPr/>
                    <a:lstStyle/>
                    <a:p>
                      <a:pPr algn="ctr"/>
                      <a:r>
                        <a:rPr lang="cs-CZ" sz="5400" b="1"/>
                        <a:t>Stručný souhrn stávajícího stavu</a:t>
                      </a:r>
                      <a:endParaRPr lang="cs-CZ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059818"/>
                  </a:ext>
                </a:extLst>
              </a:tr>
              <a:tr h="5672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900" b="1" i="1"/>
                        <a:t>- dne 03.06.2021 -</a:t>
                      </a:r>
                      <a:endParaRPr lang="cs-CZ" sz="3900" b="1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19906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72212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diagnostické </a:t>
            </a:r>
            <a:r>
              <a:rPr lang="cs-CZ" dirty="0" smtClean="0"/>
              <a:t>a klinické indikace 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1574825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2F1B534C-655F-4C06-B51A-B7F33CCFC5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211815"/>
              </p:ext>
            </p:extLst>
          </p:nvPr>
        </p:nvGraphicFramePr>
        <p:xfrm>
          <a:off x="1549040" y="529546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456762" y="2656665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64330" y="1459764"/>
            <a:ext cx="5015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Relativní pozitivita testů z diagnostické a klinické indikace v kraji </a:t>
            </a:r>
            <a:r>
              <a:rPr lang="cs-CZ" sz="2000" b="1" u="sng" dirty="0">
                <a:solidFill>
                  <a:srgbClr val="0000FF"/>
                </a:solidFill>
              </a:rPr>
              <a:t>klesá</a:t>
            </a:r>
            <a:r>
              <a:rPr lang="cs-CZ" sz="2000" b="1" dirty="0"/>
              <a:t>, což je průkazný indikátor zpomalování šíření epidemie. </a:t>
            </a:r>
          </a:p>
        </p:txBody>
      </p:sp>
      <p:sp>
        <p:nvSpPr>
          <p:cNvPr id="9" name="Šipka dolů 8"/>
          <p:cNvSpPr/>
          <p:nvPr/>
        </p:nvSpPr>
        <p:spPr>
          <a:xfrm rot="5400000">
            <a:off x="5454117" y="1724090"/>
            <a:ext cx="738910" cy="43452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Šipka dolů 13"/>
          <p:cNvSpPr/>
          <p:nvPr/>
        </p:nvSpPr>
        <p:spPr>
          <a:xfrm>
            <a:off x="10255311" y="3662237"/>
            <a:ext cx="1016731" cy="43452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0106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epidemiologické indikace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598483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4B955CDE-39E2-4A39-8137-2CD7A2572B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436900"/>
              </p:ext>
            </p:extLst>
          </p:nvPr>
        </p:nvGraphicFramePr>
        <p:xfrm>
          <a:off x="1447442" y="573090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55164" y="2700209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43078" y="1459764"/>
            <a:ext cx="54591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Relativní pozitivita testů z </a:t>
            </a:r>
            <a:r>
              <a:rPr lang="cs-CZ" sz="2000" b="1" dirty="0" smtClean="0"/>
              <a:t>epidemiologické </a:t>
            </a:r>
            <a:r>
              <a:rPr lang="cs-CZ" sz="2000" b="1" dirty="0"/>
              <a:t>indikace v kraji </a:t>
            </a:r>
            <a:r>
              <a:rPr lang="cs-CZ" sz="2000" b="1" u="sng" dirty="0">
                <a:solidFill>
                  <a:srgbClr val="0000FF"/>
                </a:solidFill>
              </a:rPr>
              <a:t>klesá</a:t>
            </a:r>
            <a:r>
              <a:rPr lang="cs-CZ" sz="2000" b="1" dirty="0"/>
              <a:t>, což je průkazný indikátor zpomalování šíření epidemie. </a:t>
            </a:r>
          </a:p>
        </p:txBody>
      </p:sp>
      <p:sp>
        <p:nvSpPr>
          <p:cNvPr id="9" name="Šipka dolů 8"/>
          <p:cNvSpPr/>
          <p:nvPr/>
        </p:nvSpPr>
        <p:spPr>
          <a:xfrm rot="5400000">
            <a:off x="5432865" y="1724090"/>
            <a:ext cx="738910" cy="43452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Šipka dolů 13"/>
          <p:cNvSpPr/>
          <p:nvPr/>
        </p:nvSpPr>
        <p:spPr>
          <a:xfrm>
            <a:off x="10350174" y="3141925"/>
            <a:ext cx="1016731" cy="43452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23427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73707-12E2-4D1E-AB03-FD25BE481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01" y="2"/>
            <a:ext cx="8006053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odíl pozitivních testů: </a:t>
            </a:r>
            <a:r>
              <a:rPr lang="cs-CZ" dirty="0"/>
              <a:t>preventivní testy a komunitní testování</a:t>
            </a:r>
            <a:endParaRPr lang="cs-CZ" dirty="0">
              <a:latin typeface="+mj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C555464-C1F2-4124-821F-660B522ED9C8}"/>
              </a:ext>
            </a:extLst>
          </p:cNvPr>
          <p:cNvSpPr txBox="1"/>
          <p:nvPr/>
        </p:nvSpPr>
        <p:spPr>
          <a:xfrm rot="16200000">
            <a:off x="-978817" y="3904624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případů v ČR</a:t>
            </a:r>
          </a:p>
        </p:txBody>
      </p:sp>
      <p:graphicFrame>
        <p:nvGraphicFramePr>
          <p:cNvPr id="13" name="Chart 4">
            <a:extLst>
              <a:ext uri="{FF2B5EF4-FFF2-40B4-BE49-F238E27FC236}">
                <a16:creationId xmlns:a16="http://schemas.microsoft.com/office/drawing/2014/main" id="{DDCE47EF-31FF-4F5A-A8E9-CB9CFC669B6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72936"/>
              </p:ext>
            </p:extLst>
          </p:nvPr>
        </p:nvGraphicFramePr>
        <p:xfrm>
          <a:off x="671739" y="1459764"/>
          <a:ext cx="11010187" cy="5283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9575B234-C4B9-4712-9102-14880B2BB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587881"/>
              </p:ext>
            </p:extLst>
          </p:nvPr>
        </p:nvGraphicFramePr>
        <p:xfrm>
          <a:off x="1461956" y="515033"/>
          <a:ext cx="3153360" cy="2124916"/>
        </p:xfrm>
        <a:graphic>
          <a:graphicData uri="http://schemas.openxmlformats.org/drawingml/2006/table">
            <a:tbl>
              <a:tblPr/>
              <a:tblGrid>
                <a:gridCol w="1683484">
                  <a:extLst>
                    <a:ext uri="{9D8B030D-6E8A-4147-A177-3AD203B41FA5}">
                      <a16:colId xmlns:a16="http://schemas.microsoft.com/office/drawing/2014/main" val="3546016253"/>
                    </a:ext>
                  </a:extLst>
                </a:gridCol>
                <a:gridCol w="1469876">
                  <a:extLst>
                    <a:ext uri="{9D8B030D-6E8A-4147-A177-3AD203B41FA5}">
                      <a16:colId xmlns:a16="http://schemas.microsoft.com/office/drawing/2014/main" val="1748583085"/>
                    </a:ext>
                  </a:extLst>
                </a:gridCol>
              </a:tblGrid>
              <a:tr h="262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um*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cs-CZ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pozitivních případ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795841"/>
                  </a:ext>
                </a:extLst>
              </a:tr>
              <a:tr h="216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09829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172434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6616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5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860033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1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69354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9193932"/>
                  </a:ext>
                </a:extLst>
              </a:tr>
              <a:tr h="2087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6.20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735245"/>
                  </a:ext>
                </a:extLst>
              </a:tr>
              <a:tr h="264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ý podíl
za posledních 7 dní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%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49966"/>
                  </a:ext>
                </a:extLst>
              </a:tr>
            </a:tbl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206DCB10-AA7E-4865-BDF4-B9CFC41471DE}"/>
              </a:ext>
            </a:extLst>
          </p:cNvPr>
          <p:cNvSpPr/>
          <p:nvPr/>
        </p:nvSpPr>
        <p:spPr>
          <a:xfrm>
            <a:off x="1369678" y="2642152"/>
            <a:ext cx="35464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Stav po aktualizaci dat za předchozí den.</a:t>
            </a:r>
          </a:p>
        </p:txBody>
      </p:sp>
    </p:spTree>
    <p:extLst>
      <p:ext uri="{BB962C8B-B14F-4D97-AF65-F5344CB8AC3E}">
        <p14:creationId xmlns:p14="http://schemas.microsoft.com/office/powerpoint/2010/main" val="24760325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Vybrané závěry prediktivních </a:t>
            </a:r>
          </a:p>
          <a:p>
            <a:r>
              <a:rPr lang="cs-CZ" sz="5000" b="1" dirty="0"/>
              <a:t>populačních modelů </a:t>
            </a:r>
          </a:p>
        </p:txBody>
      </p:sp>
    </p:spTree>
    <p:extLst>
      <p:ext uri="{BB962C8B-B14F-4D97-AF65-F5344CB8AC3E}">
        <p14:creationId xmlns:p14="http://schemas.microsoft.com/office/powerpoint/2010/main" val="41715125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231940" y="2784875"/>
            <a:ext cx="117852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ubnu a po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5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či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.5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se na vývoji epidemie neprojevilo, situace začíná být stabilní. </a:t>
            </a: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ůsledku postupující vakcinac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ze očekávat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že 7denní počet nově potvrzených případů bude dále významně klesat.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142875" y="147236"/>
            <a:ext cx="11963400" cy="18755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všech regionů klesá a rovněž pro další období lze očekávat pokles, který bude dále umocňován postupujícím očkováním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48719" y="201082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5348719" y="601642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12321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3047683"/>
              </p:ext>
            </p:extLst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96428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96428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57600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5782825" y="2757913"/>
            <a:ext cx="59280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stávajícího trendu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e pokles virové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e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pokračovat i v první polovině června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31495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354594" y="2422786"/>
            <a:ext cx="1220245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325033" y="273574"/>
            <a:ext cx="1127936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vývoj epidemie je velmi pozitivní, populační zátěž významně klesá a projevuje se již postupující vakcinace rizikových skupin obyvatel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0" y="5653507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390522" y="3288145"/>
            <a:ext cx="1114838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časný vývoj odpovídá velmi optimistickému scénáři, který předpokládal rychlé brždění epidemie odpovídající reprodukčnímu číslu cca 0,7 - 0,8, posílenému o rychlý efekt postupující vakcinace (imunita dosažená již po 1. dávce vakcíny) </a:t>
            </a:r>
          </a:p>
        </p:txBody>
      </p:sp>
    </p:spTree>
    <p:extLst>
      <p:ext uri="{BB962C8B-B14F-4D97-AF65-F5344CB8AC3E}">
        <p14:creationId xmlns:p14="http://schemas.microsoft.com/office/powerpoint/2010/main" val="4733896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4E7D0320-3AC3-4E3F-AB09-9DBAA2D32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72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842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2726954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C804BFAF-1D69-4A41-A790-880D23457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329" y="153055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zachování dopadu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vu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2200" b="1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dubnu/květnu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</a:t>
            </a:r>
            <a:r>
              <a:rPr kumimoji="0" lang="cs-CZ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RV</a:t>
            </a: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53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269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  <a:gridCol w="547182">
                  <a:extLst>
                    <a:ext uri="{9D8B030D-6E8A-4147-A177-3AD203B41FA5}">
                      <a16:colId xmlns:a16="http://schemas.microsoft.com/office/drawing/2014/main" val="4234630030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05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rv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95254" y="5361018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3337610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/>
          </a:bodyPr>
          <a:lstStyle/>
          <a:p>
            <a:r>
              <a:rPr lang="cs-CZ" sz="5400" b="1" dirty="0"/>
              <a:t>Zátěž nemocnic 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2462213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4581411"/>
              </p:ext>
            </p:ext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2DE39AA6-D003-469A-A51D-8DFB439FED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536516"/>
              </p:ext>
            </p:extLst>
          </p:nvPr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9. 4.–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 5.–12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. 5.–19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. 5.–26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5.–2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0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28674011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8234714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80377" y="2092574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1F7A941E-AB77-46E2-931F-8B4A366B6C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6365059"/>
              </p:ext>
            </p:extLst>
          </p:nvPr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m týdnu počty pacientů klesají. 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9564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9AF1149A-F1B9-4CB9-B9E4-22E79827FFC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7036"/>
              </p:ext>
            </p:extLst>
          </p:nvPr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0433C011-5909-4F06-9095-C20C97B2F7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391924"/>
              </p:ext>
            </p:extLst>
          </p:nvPr>
        </p:nvGraphicFramePr>
        <p:xfrm>
          <a:off x="4604657" y="1318755"/>
          <a:ext cx="6581655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338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284317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7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0F2B6EF9-D569-4BAE-B545-E34BCC4C24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sledním týdnu počty pacientů klesají. 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Šipka doprava 1">
            <a:extLst>
              <a:ext uri="{FF2B5EF4-FFF2-40B4-BE49-F238E27FC236}">
                <a16:creationId xmlns:a16="http://schemas.microsoft.com/office/drawing/2014/main" id="{DB69093E-D357-4867-8160-EB2CA3C5A1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228665">
            <a:off x="11096993" y="4854039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80377" y="2092574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5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let</a:t>
            </a:r>
          </a:p>
        </p:txBody>
      </p:sp>
    </p:spTree>
    <p:extLst>
      <p:ext uri="{BB962C8B-B14F-4D97-AF65-F5344CB8AC3E}">
        <p14:creationId xmlns:p14="http://schemas.microsoft.com/office/powerpoint/2010/main" val="26365220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26922E90-72EC-47E5-BE2C-FFD12EAA07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183187"/>
              </p:ext>
            </p:extLst>
          </p:nvPr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Z" sz="4000" b="1" dirty="0"/>
              <a:t>Aktuální </a:t>
            </a:r>
            <a:r>
              <a:rPr lang="cs-CZ" sz="4000" b="1" dirty="0"/>
              <a:t>počty </a:t>
            </a:r>
            <a:r>
              <a:rPr lang="en-CZ" sz="4000" b="1" dirty="0"/>
              <a:t>hospitalizovaných</a:t>
            </a:r>
            <a:r>
              <a:rPr lang="cs-CZ" sz="4000" b="1" dirty="0"/>
              <a:t> pacientů klesají</a:t>
            </a:r>
            <a:br>
              <a:rPr lang="cs-CZ" sz="4000" b="1" dirty="0"/>
            </a:br>
            <a:r>
              <a:rPr lang="cs-CZ" sz="4000" b="1" dirty="0"/>
              <a:t>a roste i dostupná kapacita lůžek, včetně JIP</a:t>
            </a:r>
            <a:endParaRPr lang="cs-CZ" sz="4000" dirty="0"/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Šipka doprava 7">
            <a:extLst>
              <a:ext uri="{FF2B5EF4-FFF2-40B4-BE49-F238E27FC236}">
                <a16:creationId xmlns:a16="http://schemas.microsoft.com/office/drawing/2014/main" id="{A73723C6-25FD-4433-AFB1-043FE8AB577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5400000">
            <a:off x="10019398" y="594388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BF28DDFA-7BE7-4F2C-A279-799EAEEFAD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9139628"/>
              </p:ext>
            </p:extLst>
          </p:nvPr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2.06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56537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08D19FD2-8694-431A-B064-708B54BC43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3414735"/>
              </p:ext>
            </p:extLst>
          </p:nvPr>
        </p:nvGraphicFramePr>
        <p:xfrm>
          <a:off x="386622" y="1881553"/>
          <a:ext cx="11805378" cy="47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7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BDA7959B-51FF-4677-BA80-7205FE4AB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013632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4.–4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5.–1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5.–1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5.–2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5.–1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8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4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8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38233392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D1CA4ED-3B54-4AF5-A724-D10A278B2B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007664"/>
              </p:ext>
            </p:extLst>
          </p:nvPr>
        </p:nvGraphicFramePr>
        <p:xfrm>
          <a:off x="557348" y="2233245"/>
          <a:ext cx="11634651" cy="439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endParaRPr lang="cs-CZ" sz="1400" dirty="0" smtClean="0"/>
            </a:p>
            <a:p>
              <a:r>
                <a:rPr lang="cs-CZ" sz="1400" dirty="0" smtClean="0"/>
                <a:t>R </a:t>
              </a:r>
              <a:r>
                <a:rPr lang="cs-CZ" sz="1400" dirty="0"/>
                <a:t>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FC770011-F1DE-4FC0-956E-4BF56D4D7A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46715"/>
              </p:ext>
            </p:extLst>
          </p:nvPr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4.–4. 5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. 5.–1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2. 5.–18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. 5.–25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. 5.–1. 6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5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6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9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37,1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785897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0" y="1972805"/>
            <a:ext cx="1191038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 regiony klesly pod hranici týdenních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chytů nákazy 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/100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atel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tailnějším </a:t>
            </a:r>
            <a:r>
              <a:rPr kumimoji="0" lang="cs-CZ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álování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e patrné, že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tšina krajů již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va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la</a:t>
            </a:r>
            <a:r>
              <a:rPr kumimoji="0" lang="cs-CZ" sz="3200" b="1" i="0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d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í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ulativních týdenních záchytů </a:t>
            </a: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/100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. obyv.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088514" y="1346633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9883" y="166286"/>
            <a:ext cx="11249025" cy="118034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 regiony se postupně zmenšují rozdíly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celkové virové zátěži</a:t>
            </a:r>
          </a:p>
        </p:txBody>
      </p:sp>
      <p:sp>
        <p:nvSpPr>
          <p:cNvPr id="10" name="Šipka dolů 9"/>
          <p:cNvSpPr/>
          <p:nvPr/>
        </p:nvSpPr>
        <p:spPr>
          <a:xfrm>
            <a:off x="5088513" y="3299801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Šipka dolů 11"/>
          <p:cNvSpPr/>
          <p:nvPr/>
        </p:nvSpPr>
        <p:spPr>
          <a:xfrm>
            <a:off x="5088512" y="5769889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739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en-US" dirty="0" err="1"/>
              <a:t>okresech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34280" y="1582519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10334280" y="1891245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10334280" y="2199971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10334280" y="2508697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10334280" y="2817423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74037" y="1487853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574037" y="179914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– 2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574037" y="211043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– 3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0574037" y="242172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 – 4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574037" y="273301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10334280" y="3126148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10334280" y="3434872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574037" y="3044303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574037" y="3355595"/>
            <a:ext cx="7040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6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0334280" y="1307853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574036" y="1243965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29">
            <a:extLst>
              <a:ext uri="{FF2B5EF4-FFF2-40B4-BE49-F238E27FC236}">
                <a16:creationId xmlns:a16="http://schemas.microsoft.com/office/drawing/2014/main" id="{0835FFC6-D4A4-4EFB-89C7-AD533F1516F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97755" y="79065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5.2021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F41D84E5-0770-425B-8B76-08CC308AA8AB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708665" y="83465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4" name="TextBox 29">
            <a:extLst>
              <a:ext uri="{FF2B5EF4-FFF2-40B4-BE49-F238E27FC236}">
                <a16:creationId xmlns:a16="http://schemas.microsoft.com/office/drawing/2014/main" id="{CABE1324-0AE2-4CB4-A4FF-B1AB0E1BB13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58977" y="3838825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2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.2021</a:t>
            </a:r>
          </a:p>
        </p:txBody>
      </p:sp>
      <p:sp>
        <p:nvSpPr>
          <p:cNvPr id="25" name="TextovéPole 24"/>
          <p:cNvSpPr txBox="1"/>
          <p:nvPr>
            <p:custDataLst>
              <p:tags r:id="rId15"/>
            </p:custDataLst>
          </p:nvPr>
        </p:nvSpPr>
        <p:spPr>
          <a:xfrm>
            <a:off x="8609458" y="4448677"/>
            <a:ext cx="358254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ová zátěž dlouhodobě klesá ve všech regionech. Všechny kraje vykazují týdenní pokles počtu potvrzených případ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zsahu cca  –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%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–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%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29">
            <a:extLst>
              <a:ext uri="{FF2B5EF4-FFF2-40B4-BE49-F238E27FC236}">
                <a16:creationId xmlns:a16="http://schemas.microsoft.com/office/drawing/2014/main" id="{62DA513C-9C1E-48BC-8498-2E3CBCCB47C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708664" y="3814020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5.202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0334280" y="1017511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0574036" y="953623"/>
            <a:ext cx="5325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25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 descr="Map&#10;&#10;Description automatically generated">
            <a:extLst>
              <a:ext uri="{FF2B5EF4-FFF2-40B4-BE49-F238E27FC236}">
                <a16:creationId xmlns:a16="http://schemas.microsoft.com/office/drawing/2014/main" id="{B245AF37-1146-44D0-AACD-F8555784CFC2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327" y="4116233"/>
            <a:ext cx="3900794" cy="2556000"/>
          </a:xfrm>
          <a:prstGeom prst="rect">
            <a:avLst/>
          </a:prstGeom>
        </p:spPr>
      </p:pic>
      <p:pic>
        <p:nvPicPr>
          <p:cNvPr id="33" name="Picture 32" descr="Map&#10;&#10;Description automatically generated">
            <a:extLst>
              <a:ext uri="{FF2B5EF4-FFF2-40B4-BE49-F238E27FC236}">
                <a16:creationId xmlns:a16="http://schemas.microsoft.com/office/drawing/2014/main" id="{9E7569A9-8B40-4F81-8E81-F8A334611E28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75" y="4214130"/>
            <a:ext cx="3900794" cy="2556000"/>
          </a:xfrm>
          <a:prstGeom prst="rect">
            <a:avLst/>
          </a:prstGeom>
        </p:spPr>
      </p:pic>
      <p:pic>
        <p:nvPicPr>
          <p:cNvPr id="35" name="Picture 34" descr="Map&#10;&#10;Description automatically generated">
            <a:extLst>
              <a:ext uri="{FF2B5EF4-FFF2-40B4-BE49-F238E27FC236}">
                <a16:creationId xmlns:a16="http://schemas.microsoft.com/office/drawing/2014/main" id="{FCC78ABD-3900-458F-BCD2-316A5FD1E697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089" y="1185821"/>
            <a:ext cx="3900794" cy="2556000"/>
          </a:xfrm>
          <a:prstGeom prst="rect">
            <a:avLst/>
          </a:prstGeom>
        </p:spPr>
      </p:pic>
      <p:pic>
        <p:nvPicPr>
          <p:cNvPr id="37" name="Picture 36" descr="Map&#10;&#10;Description automatically generated">
            <a:extLst>
              <a:ext uri="{FF2B5EF4-FFF2-40B4-BE49-F238E27FC236}">
                <a16:creationId xmlns:a16="http://schemas.microsoft.com/office/drawing/2014/main" id="{EE2149BB-4E2F-464C-BF75-6D35A9B910EB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94" y="1175954"/>
            <a:ext cx="3900794" cy="25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578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Zátěž regionů ve vzájemném srovnání </a:t>
            </a:r>
            <a:r>
              <a:rPr lang="pl-PL" dirty="0"/>
              <a:t>krajů k </a:t>
            </a:r>
            <a:r>
              <a:rPr lang="pl-PL" dirty="0" smtClean="0"/>
              <a:t>1</a:t>
            </a:r>
            <a:r>
              <a:rPr lang="cs-CZ" dirty="0" smtClean="0"/>
              <a:t>.6.</a:t>
            </a:r>
            <a:endParaRPr lang="cs-CZ" dirty="0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/>
        </p:nvSpPr>
        <p:spPr>
          <a:xfrm>
            <a:off x="7104563" y="1373577"/>
            <a:ext cx="49860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díly mezi regiony se postupně zmenšu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cí trend je významný ve všech krajích. </a:t>
            </a: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je KVK a KHK již klesly pod týdenní počet nových případů 10/100tis. obyv.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575013"/>
              </p:ext>
            </p:extLst>
          </p:nvPr>
        </p:nvGraphicFramePr>
        <p:xfrm>
          <a:off x="588528" y="819154"/>
          <a:ext cx="6027424" cy="5425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525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502559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860340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</a:tblGrid>
              <a:tr h="166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ní počet nových případů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přepočet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  100tis.obyv.)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 (6.0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.1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76250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(4.1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.0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 (5.0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 (3.9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1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(3.3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9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(2.2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.0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 (3.7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3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41128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 (2.9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3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ysočina</a:t>
                      </a:r>
                      <a:endParaRPr lang="cs-CZ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(2.0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4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 (3.1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8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 (2.7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0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 (2.7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4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(0.9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7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130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(1.0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5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8 (3.3)</a:t>
                      </a:r>
                      <a:endParaRPr lang="cs-CZ" sz="16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.6</a:t>
                      </a:r>
                      <a:endParaRPr lang="cs-CZ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A29EB09-17C8-452F-8EAF-45B003F09D4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302242" y="5690934"/>
            <a:ext cx="4788389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á hodnota za ČR pokles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 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adů / 100 tis. obyv. za 7 dní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6772810" y="5734586"/>
            <a:ext cx="457200" cy="66423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1116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058" y="605030"/>
            <a:ext cx="11963400" cy="621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284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36164" cy="576000"/>
          </a:xfrm>
        </p:spPr>
        <p:txBody>
          <a:bodyPr/>
          <a:lstStyle/>
          <a:p>
            <a:r>
              <a:rPr lang="cs-CZ" dirty="0"/>
              <a:t>Vybrané ukazatele – srovnání regionů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644726"/>
            <a:ext cx="11963400" cy="623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591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23862" y="3931234"/>
            <a:ext cx="11344275" cy="1974265"/>
          </a:xfrm>
        </p:spPr>
        <p:txBody>
          <a:bodyPr>
            <a:normAutofit fontScale="92500"/>
          </a:bodyPr>
          <a:lstStyle/>
          <a:p>
            <a:r>
              <a:rPr lang="cs-CZ" sz="5400" b="1" dirty="0"/>
              <a:t>Nově pozitivně diagnostikovaní </a:t>
            </a:r>
          </a:p>
          <a:p>
            <a:r>
              <a:rPr lang="cs-CZ" sz="5400" b="1" dirty="0"/>
              <a:t>– rozbor testů vedoucích k diagnóze</a:t>
            </a:r>
            <a:endParaRPr lang="cs-CZ" sz="3900" b="1" i="1" dirty="0"/>
          </a:p>
        </p:txBody>
      </p:sp>
    </p:spTree>
    <p:extLst>
      <p:ext uri="{BB962C8B-B14F-4D97-AF65-F5344CB8AC3E}">
        <p14:creationId xmlns:p14="http://schemas.microsoft.com/office/powerpoint/2010/main" val="291595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371768" cy="576000"/>
          </a:xfrm>
        </p:spPr>
        <p:txBody>
          <a:bodyPr/>
          <a:lstStyle/>
          <a:p>
            <a:r>
              <a:rPr lang="cs-CZ" dirty="0"/>
              <a:t>Typologie pozitivních případů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F65D85B-1235-470B-97CB-79FE65D6B769}"/>
              </a:ext>
            </a:extLst>
          </p:cNvPr>
          <p:cNvCxnSpPr/>
          <p:nvPr/>
        </p:nvCxnSpPr>
        <p:spPr>
          <a:xfrm>
            <a:off x="6053207" y="809564"/>
            <a:ext cx="11502" cy="47088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5">
            <a:extLst>
              <a:ext uri="{FF2B5EF4-FFF2-40B4-BE49-F238E27FC236}">
                <a16:creationId xmlns:a16="http://schemas.microsoft.com/office/drawing/2014/main" id="{1E5FC5D8-9F12-4C4D-ACF4-685FB62457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682882"/>
              </p:ext>
            </p:extLst>
          </p:nvPr>
        </p:nvGraphicFramePr>
        <p:xfrm>
          <a:off x="285832" y="547721"/>
          <a:ext cx="6043581" cy="5683390"/>
        </p:xfrm>
        <a:graphic>
          <a:graphicData uri="http://schemas.openxmlformats.org/drawingml/2006/table">
            <a:tbl>
              <a:tblPr/>
              <a:tblGrid>
                <a:gridCol w="74187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6932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9254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853133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2.06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48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316 (90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60 (46,0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156 (44,8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32 (9,2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11 (3,2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1 (6,0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67E718B0-D805-4F0A-A2D9-973B2454D5C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59" y="1743959"/>
            <a:ext cx="920978" cy="3914685"/>
            <a:chOff x="404159" y="1866838"/>
            <a:chExt cx="920978" cy="3351365"/>
          </a:xfrm>
        </p:grpSpPr>
        <p:cxnSp>
          <p:nvCxnSpPr>
            <p:cNvPr id="47" name="Connector: Elbow 27">
              <a:extLst>
                <a:ext uri="{FF2B5EF4-FFF2-40B4-BE49-F238E27FC236}">
                  <a16:creationId xmlns:a16="http://schemas.microsoft.com/office/drawing/2014/main" id="{EE1BC2F1-8FA3-4CB7-A65D-01605921EF18}"/>
                </a:ext>
              </a:extLst>
            </p:cNvPr>
            <p:cNvCxnSpPr>
              <a:cxnSpLocks/>
              <a:stCxn id="57" idx="2"/>
              <a:endCxn id="60" idx="2"/>
            </p:cNvCxnSpPr>
            <p:nvPr>
              <p:custDataLst>
                <p:tags r:id="rId8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28">
              <a:extLst>
                <a:ext uri="{FF2B5EF4-FFF2-40B4-BE49-F238E27FC236}">
                  <a16:creationId xmlns:a16="http://schemas.microsoft.com/office/drawing/2014/main" id="{0A91E232-C7CE-4D15-916A-0461B3434166}"/>
                </a:ext>
              </a:extLst>
            </p:cNvPr>
            <p:cNvCxnSpPr>
              <a:cxnSpLocks/>
              <a:stCxn id="76" idx="2"/>
              <a:endCxn id="58" idx="2"/>
            </p:cNvCxnSpPr>
            <p:nvPr>
              <p:custDataLst>
                <p:tags r:id="rId9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29">
              <a:extLst>
                <a:ext uri="{FF2B5EF4-FFF2-40B4-BE49-F238E27FC236}">
                  <a16:creationId xmlns:a16="http://schemas.microsoft.com/office/drawing/2014/main" id="{51E69D21-290A-4C75-ABAF-6603101A1BDA}"/>
                </a:ext>
              </a:extLst>
            </p:cNvPr>
            <p:cNvCxnSpPr>
              <a:cxnSpLocks/>
              <a:stCxn id="76" idx="2"/>
              <a:endCxn id="59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30">
              <a:extLst>
                <a:ext uri="{FF2B5EF4-FFF2-40B4-BE49-F238E27FC236}">
                  <a16:creationId xmlns:a16="http://schemas.microsoft.com/office/drawing/2014/main" id="{D5A1B002-700B-428B-B6B2-7ABE2F7E2D5D}"/>
                </a:ext>
              </a:extLst>
            </p:cNvPr>
            <p:cNvCxnSpPr>
              <a:cxnSpLocks/>
              <a:stCxn id="60" idx="2"/>
              <a:endCxn id="74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or: Elbow 31">
              <a:extLst>
                <a:ext uri="{FF2B5EF4-FFF2-40B4-BE49-F238E27FC236}">
                  <a16:creationId xmlns:a16="http://schemas.microsoft.com/office/drawing/2014/main" id="{41840207-9B3F-46F3-A2A0-72EA1C5F95FC}"/>
                </a:ext>
              </a:extLst>
            </p:cNvPr>
            <p:cNvCxnSpPr>
              <a:cxnSpLocks/>
              <a:stCxn id="60" idx="2"/>
              <a:endCxn id="75" idx="2"/>
            </p:cNvCxnSpPr>
            <p:nvPr>
              <p:custDataLst>
                <p:tags r:id="rId10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7">
              <a:extLst>
                <a:ext uri="{FF2B5EF4-FFF2-40B4-BE49-F238E27FC236}">
                  <a16:creationId xmlns:a16="http://schemas.microsoft.com/office/drawing/2014/main" id="{DEFCBE29-8A8A-403F-87FC-6E964EECF435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Oval 36">
              <a:extLst>
                <a:ext uri="{FF2B5EF4-FFF2-40B4-BE49-F238E27FC236}">
                  <a16:creationId xmlns:a16="http://schemas.microsoft.com/office/drawing/2014/main" id="{EFB45541-6952-4AB8-8984-D4903D966A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37">
              <a:extLst>
                <a:ext uri="{FF2B5EF4-FFF2-40B4-BE49-F238E27FC236}">
                  <a16:creationId xmlns:a16="http://schemas.microsoft.com/office/drawing/2014/main" id="{2143FA77-D84E-4803-A4CF-57C6A2280DBC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Oval 51">
              <a:extLst>
                <a:ext uri="{FF2B5EF4-FFF2-40B4-BE49-F238E27FC236}">
                  <a16:creationId xmlns:a16="http://schemas.microsoft.com/office/drawing/2014/main" id="{2C16C17A-1A40-4E38-8341-353E1F4A8244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Oval 52">
              <a:extLst>
                <a:ext uri="{FF2B5EF4-FFF2-40B4-BE49-F238E27FC236}">
                  <a16:creationId xmlns:a16="http://schemas.microsoft.com/office/drawing/2014/main" id="{A6EDEF7D-BF1B-4696-8813-4124510BFD1D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Oval 53">
              <a:extLst>
                <a:ext uri="{FF2B5EF4-FFF2-40B4-BE49-F238E27FC236}">
                  <a16:creationId xmlns:a16="http://schemas.microsoft.com/office/drawing/2014/main" id="{43050E38-D6EA-4630-BC45-913F50C6A86D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val 54">
              <a:extLst>
                <a:ext uri="{FF2B5EF4-FFF2-40B4-BE49-F238E27FC236}">
                  <a16:creationId xmlns:a16="http://schemas.microsoft.com/office/drawing/2014/main" id="{D8240F72-BDE6-4A9E-9A16-AC6F7259A476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7" name="Connector: Elbow 55">
              <a:extLst>
                <a:ext uri="{FF2B5EF4-FFF2-40B4-BE49-F238E27FC236}">
                  <a16:creationId xmlns:a16="http://schemas.microsoft.com/office/drawing/2014/main" id="{A8588F7C-BDAF-43FA-851B-A355AA22B9BB}"/>
                </a:ext>
              </a:extLst>
            </p:cNvPr>
            <p:cNvCxnSpPr>
              <a:cxnSpLocks/>
              <a:stCxn id="57" idx="2"/>
              <a:endCxn id="76" idx="2"/>
            </p:cNvCxnSpPr>
            <p:nvPr>
              <p:custDataLst>
                <p:tags r:id="rId12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le 5">
            <a:extLst>
              <a:ext uri="{FF2B5EF4-FFF2-40B4-BE49-F238E27FC236}">
                <a16:creationId xmlns:a16="http://schemas.microsoft.com/office/drawing/2014/main" id="{1F1797DB-731E-47AD-8EC3-8C0BA1DC28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3312142"/>
              </p:ext>
            </p:extLst>
          </p:nvPr>
        </p:nvGraphicFramePr>
        <p:xfrm>
          <a:off x="6312560" y="547721"/>
          <a:ext cx="5810430" cy="5683390"/>
        </p:xfrm>
        <a:graphic>
          <a:graphicData uri="http://schemas.openxmlformats.org/drawingml/2006/table">
            <a:tbl>
              <a:tblPr/>
              <a:tblGrid>
                <a:gridCol w="713254">
                  <a:extLst>
                    <a:ext uri="{9D8B030D-6E8A-4147-A177-3AD203B41FA5}">
                      <a16:colId xmlns:a16="http://schemas.microsoft.com/office/drawing/2014/main" val="2010222896"/>
                    </a:ext>
                  </a:extLst>
                </a:gridCol>
                <a:gridCol w="258930">
                  <a:extLst>
                    <a:ext uri="{9D8B030D-6E8A-4147-A177-3AD203B41FA5}">
                      <a16:colId xmlns:a16="http://schemas.microsoft.com/office/drawing/2014/main" val="2380497939"/>
                    </a:ext>
                  </a:extLst>
                </a:gridCol>
                <a:gridCol w="172339">
                  <a:extLst>
                    <a:ext uri="{9D8B030D-6E8A-4147-A177-3AD203B41FA5}">
                      <a16:colId xmlns:a16="http://schemas.microsoft.com/office/drawing/2014/main" val="1368412751"/>
                    </a:ext>
                  </a:extLst>
                </a:gridCol>
                <a:gridCol w="4665907">
                  <a:extLst>
                    <a:ext uri="{9D8B030D-6E8A-4147-A177-3AD203B41FA5}">
                      <a16:colId xmlns:a16="http://schemas.microsoft.com/office/drawing/2014/main" val="2930962357"/>
                    </a:ext>
                  </a:extLst>
                </a:gridCol>
              </a:tblGrid>
              <a:tr h="568339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dobí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383480"/>
                  </a:ext>
                </a:extLst>
              </a:tr>
              <a:tr h="568339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.2021–30.5.2021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78555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3 185 nově pozitivních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9 066 nově pozitivních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935836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2 671 (83,9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celkem N = 7 725 (85,2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594139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PCR - symptomatičtí N = 4 618 (50,9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symptomatičtí N = 1 347 (42,3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13933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PCR - asymptomatičtí N = 3 107 (34,3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R - asymptomatičtí N = 1 324 (41,6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604263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celkem N = 514 (16,1%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AG - celkem N = 1 341 (14,8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904605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symptomatičtí N = 262 (8,2%)</a:t>
                      </a:r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895331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 - asymptomatičtí konfirmovaní PCR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276514"/>
                  </a:ext>
                </a:extLst>
              </a:tr>
              <a:tr h="568339"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= 252 (7,9%)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515522"/>
                  </a:ext>
                </a:extLst>
              </a:tr>
            </a:tbl>
          </a:graphicData>
        </a:graphic>
      </p:graphicFrame>
      <p:grpSp>
        <p:nvGrpSpPr>
          <p:cNvPr id="79" name="Skupina 78">
            <a:extLst>
              <a:ext uri="{FF2B5EF4-FFF2-40B4-BE49-F238E27FC236}">
                <a16:creationId xmlns:a16="http://schemas.microsoft.com/office/drawing/2014/main" id="{639E136A-D30A-4140-954C-C19293BC2CE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30887" y="1743959"/>
            <a:ext cx="920978" cy="3914685"/>
            <a:chOff x="404159" y="1866838"/>
            <a:chExt cx="920978" cy="3351365"/>
          </a:xfrm>
        </p:grpSpPr>
        <p:cxnSp>
          <p:nvCxnSpPr>
            <p:cNvPr id="80" name="Connector: Elbow 27">
              <a:extLst>
                <a:ext uri="{FF2B5EF4-FFF2-40B4-BE49-F238E27FC236}">
                  <a16:creationId xmlns:a16="http://schemas.microsoft.com/office/drawing/2014/main" id="{91C1328B-5EC4-4984-AE54-D72529F04D8A}"/>
                </a:ext>
              </a:extLst>
            </p:cNvPr>
            <p:cNvCxnSpPr>
              <a:cxnSpLocks/>
              <a:stCxn id="85" idx="2"/>
              <a:endCxn id="88" idx="2"/>
            </p:cNvCxnSpPr>
            <p:nvPr>
              <p:custDataLst>
                <p:tags r:id="rId3"/>
              </p:custDataLst>
            </p:nvPr>
          </p:nvCxnSpPr>
          <p:spPr>
            <a:xfrm rot="10800000" flipH="1" flipV="1">
              <a:off x="404159" y="1920837"/>
              <a:ext cx="332076" cy="2154059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28">
              <a:extLst>
                <a:ext uri="{FF2B5EF4-FFF2-40B4-BE49-F238E27FC236}">
                  <a16:creationId xmlns:a16="http://schemas.microsoft.com/office/drawing/2014/main" id="{84806C24-63B6-4D79-8858-483C23BF3F1A}"/>
                </a:ext>
              </a:extLst>
            </p:cNvPr>
            <p:cNvCxnSpPr>
              <a:cxnSpLocks/>
              <a:stCxn id="91" idx="2"/>
              <a:endCxn id="86" idx="2"/>
            </p:cNvCxnSpPr>
            <p:nvPr>
              <p:custDataLst>
                <p:tags r:id="rId4"/>
              </p:custDataLst>
            </p:nvPr>
          </p:nvCxnSpPr>
          <p:spPr>
            <a:xfrm rot="10800000" flipH="1" flipV="1">
              <a:off x="736235" y="2433231"/>
              <a:ext cx="480902" cy="553998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29">
              <a:extLst>
                <a:ext uri="{FF2B5EF4-FFF2-40B4-BE49-F238E27FC236}">
                  <a16:creationId xmlns:a16="http://schemas.microsoft.com/office/drawing/2014/main" id="{F1013AC1-B9AA-4FF4-8C53-5B9908B7853C}"/>
                </a:ext>
              </a:extLst>
            </p:cNvPr>
            <p:cNvCxnSpPr>
              <a:cxnSpLocks/>
              <a:stCxn id="91" idx="2"/>
              <a:endCxn id="87" idx="2"/>
            </p:cNvCxnSpPr>
            <p:nvPr/>
          </p:nvCxnSpPr>
          <p:spPr>
            <a:xfrm rot="10800000" flipH="1" flipV="1">
              <a:off x="736235" y="2433231"/>
              <a:ext cx="480902" cy="1097114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30">
              <a:extLst>
                <a:ext uri="{FF2B5EF4-FFF2-40B4-BE49-F238E27FC236}">
                  <a16:creationId xmlns:a16="http://schemas.microsoft.com/office/drawing/2014/main" id="{A21B547C-F9C9-46D9-BCC0-41AD6C84AB9F}"/>
                </a:ext>
              </a:extLst>
            </p:cNvPr>
            <p:cNvCxnSpPr>
              <a:cxnSpLocks/>
              <a:stCxn id="88" idx="2"/>
              <a:endCxn id="89" idx="2"/>
            </p:cNvCxnSpPr>
            <p:nvPr/>
          </p:nvCxnSpPr>
          <p:spPr>
            <a:xfrm rot="10800000" flipH="1" flipV="1">
              <a:off x="736235" y="4074896"/>
              <a:ext cx="480902" cy="559153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31">
              <a:extLst>
                <a:ext uri="{FF2B5EF4-FFF2-40B4-BE49-F238E27FC236}">
                  <a16:creationId xmlns:a16="http://schemas.microsoft.com/office/drawing/2014/main" id="{003A88B2-3C0F-43D6-9F0B-99ED057CFFDF}"/>
                </a:ext>
              </a:extLst>
            </p:cNvPr>
            <p:cNvCxnSpPr>
              <a:cxnSpLocks/>
              <a:stCxn id="88" idx="2"/>
              <a:endCxn id="90" idx="2"/>
            </p:cNvCxnSpPr>
            <p:nvPr>
              <p:custDataLst>
                <p:tags r:id="rId5"/>
              </p:custDataLst>
            </p:nvPr>
          </p:nvCxnSpPr>
          <p:spPr>
            <a:xfrm rot="10800000" flipH="1" flipV="1">
              <a:off x="736235" y="4074897"/>
              <a:ext cx="480902" cy="1089306"/>
            </a:xfrm>
            <a:prstGeom prst="bentConnector3">
              <a:avLst>
                <a:gd name="adj1" fmla="val -4753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Oval 7">
              <a:extLst>
                <a:ext uri="{FF2B5EF4-FFF2-40B4-BE49-F238E27FC236}">
                  <a16:creationId xmlns:a16="http://schemas.microsoft.com/office/drawing/2014/main" id="{BF48724A-7AD3-46E1-A401-506D6A041F29}"/>
                </a:ext>
              </a:extLst>
            </p:cNvPr>
            <p:cNvSpPr/>
            <p:nvPr/>
          </p:nvSpPr>
          <p:spPr>
            <a:xfrm>
              <a:off x="404159" y="1866838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Oval 36">
              <a:extLst>
                <a:ext uri="{FF2B5EF4-FFF2-40B4-BE49-F238E27FC236}">
                  <a16:creationId xmlns:a16="http://schemas.microsoft.com/office/drawing/2014/main" id="{32F493A2-F954-4465-B965-8FA41B790D9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1217137" y="2933229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:a16="http://schemas.microsoft.com/office/drawing/2014/main" id="{4C157B5A-94C3-448B-9504-14EBE360ACBE}"/>
                </a:ext>
              </a:extLst>
            </p:cNvPr>
            <p:cNvSpPr/>
            <p:nvPr/>
          </p:nvSpPr>
          <p:spPr>
            <a:xfrm>
              <a:off x="1217137" y="3476345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Oval 51">
              <a:extLst>
                <a:ext uri="{FF2B5EF4-FFF2-40B4-BE49-F238E27FC236}">
                  <a16:creationId xmlns:a16="http://schemas.microsoft.com/office/drawing/2014/main" id="{0BC273FC-0A44-4F0D-B7B7-9B5BCDFD8BFF}"/>
                </a:ext>
              </a:extLst>
            </p:cNvPr>
            <p:cNvSpPr/>
            <p:nvPr/>
          </p:nvSpPr>
          <p:spPr>
            <a:xfrm>
              <a:off x="736235" y="4020897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52">
              <a:extLst>
                <a:ext uri="{FF2B5EF4-FFF2-40B4-BE49-F238E27FC236}">
                  <a16:creationId xmlns:a16="http://schemas.microsoft.com/office/drawing/2014/main" id="{9CE7D06A-3744-4936-8F28-021DA4338E97}"/>
                </a:ext>
              </a:extLst>
            </p:cNvPr>
            <p:cNvSpPr/>
            <p:nvPr/>
          </p:nvSpPr>
          <p:spPr>
            <a:xfrm>
              <a:off x="1217137" y="4580050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Oval 53">
              <a:extLst>
                <a:ext uri="{FF2B5EF4-FFF2-40B4-BE49-F238E27FC236}">
                  <a16:creationId xmlns:a16="http://schemas.microsoft.com/office/drawing/2014/main" id="{25671CAA-8F0D-4062-9FC4-45371CD47E82}"/>
                </a:ext>
              </a:extLst>
            </p:cNvPr>
            <p:cNvSpPr/>
            <p:nvPr/>
          </p:nvSpPr>
          <p:spPr>
            <a:xfrm>
              <a:off x="1217137" y="5110203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Oval 54">
              <a:extLst>
                <a:ext uri="{FF2B5EF4-FFF2-40B4-BE49-F238E27FC236}">
                  <a16:creationId xmlns:a16="http://schemas.microsoft.com/office/drawing/2014/main" id="{26385A48-87FF-4E74-8694-4B668BA32EDD}"/>
                </a:ext>
              </a:extLst>
            </p:cNvPr>
            <p:cNvSpPr/>
            <p:nvPr/>
          </p:nvSpPr>
          <p:spPr>
            <a:xfrm>
              <a:off x="736235" y="2379231"/>
              <a:ext cx="108000" cy="108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92" name="Connector: Elbow 55">
              <a:extLst>
                <a:ext uri="{FF2B5EF4-FFF2-40B4-BE49-F238E27FC236}">
                  <a16:creationId xmlns:a16="http://schemas.microsoft.com/office/drawing/2014/main" id="{0881EE64-CAF9-42AB-A77F-B8A602A5C626}"/>
                </a:ext>
              </a:extLst>
            </p:cNvPr>
            <p:cNvCxnSpPr>
              <a:cxnSpLocks/>
              <a:stCxn id="85" idx="2"/>
              <a:endCxn id="91" idx="2"/>
            </p:cNvCxnSpPr>
            <p:nvPr>
              <p:custDataLst>
                <p:tags r:id="rId7"/>
              </p:custDataLst>
            </p:nvPr>
          </p:nvCxnSpPr>
          <p:spPr>
            <a:xfrm rot="10800000" flipH="1" flipV="1">
              <a:off x="404159" y="1920837"/>
              <a:ext cx="332076" cy="512393"/>
            </a:xfrm>
            <a:prstGeom prst="bentConnector3">
              <a:avLst>
                <a:gd name="adj1" fmla="val -6884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0273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58</Words>
  <Application>Microsoft Office PowerPoint</Application>
  <PresentationFormat>Širokoúhlá obrazovka</PresentationFormat>
  <Paragraphs>465</Paragraphs>
  <Slides>24</Slides>
  <Notes>13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7</vt:i4>
      </vt:variant>
      <vt:variant>
        <vt:lpstr>Nadpisy snímků</vt:lpstr>
      </vt:variant>
      <vt:variant>
        <vt:i4>24</vt:i4>
      </vt:variant>
    </vt:vector>
  </HeadingPairs>
  <TitlesOfParts>
    <vt:vector size="37" baseType="lpstr">
      <vt:lpstr>Arial</vt:lpstr>
      <vt:lpstr>Arial (Základní text)</vt:lpstr>
      <vt:lpstr>Calibri</vt:lpstr>
      <vt:lpstr>Calibri Light</vt:lpstr>
      <vt:lpstr>Times New Roman</vt:lpstr>
      <vt:lpstr>Wingdings</vt:lpstr>
      <vt:lpstr>Motiv Office</vt:lpstr>
      <vt:lpstr>1_Motiv systému Office</vt:lpstr>
      <vt:lpstr>1_Motiv Office</vt:lpstr>
      <vt:lpstr>3_Motiv Office</vt:lpstr>
      <vt:lpstr>2_Motiv Office</vt:lpstr>
      <vt:lpstr>7_Motiv Office</vt:lpstr>
      <vt:lpstr>4_Motiv Office</vt:lpstr>
      <vt:lpstr>Datová a informační základna  pro management pandemie COVID-19</vt:lpstr>
      <vt:lpstr>Prezentace aplikace PowerPoint</vt:lpstr>
      <vt:lpstr>Prezentace aplikace PowerPoint</vt:lpstr>
      <vt:lpstr>7 denní počet nových případů (na 100 000 obyv.) v okresech</vt:lpstr>
      <vt:lpstr>Zátěž regionů ve vzájemném srovnání krajů k 1.6.</vt:lpstr>
      <vt:lpstr>Vybrané ukazatele – srovnání regionů</vt:lpstr>
      <vt:lpstr>Vybrané ukazatele – srovnání regionů</vt:lpstr>
      <vt:lpstr>Datová a informační základna  pro management pandemie COVID-19</vt:lpstr>
      <vt:lpstr>Typologie pozitivních případů</vt:lpstr>
      <vt:lpstr>Podíl pozitivních testů: diagnostické a klinické indikace </vt:lpstr>
      <vt:lpstr>Podíl pozitivních testů: epidemiologické indikace</vt:lpstr>
      <vt:lpstr>Podíl pozitivních testů: preventivní testy a komunitní testování</vt:lpstr>
      <vt:lpstr>Datová a informační základna  pro management pandemie COVID-19</vt:lpstr>
      <vt:lpstr>Prezentace aplikace PowerPoint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04T08:39:59Z</dcterms:created>
  <dcterms:modified xsi:type="dcterms:W3CDTF">2021-06-03T07:41:05Z</dcterms:modified>
</cp:coreProperties>
</file>